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2"/>
  </p:notesMasterIdLst>
  <p:sldIdLst>
    <p:sldId id="1722" r:id="rId4"/>
    <p:sldId id="4642" r:id="rId5"/>
    <p:sldId id="1731" r:id="rId6"/>
    <p:sldId id="1635" r:id="rId7"/>
    <p:sldId id="2260" r:id="rId8"/>
    <p:sldId id="2261" r:id="rId9"/>
    <p:sldId id="4861" r:id="rId10"/>
    <p:sldId id="4862" r:id="rId11"/>
    <p:sldId id="4863" r:id="rId12"/>
    <p:sldId id="1726" r:id="rId13"/>
    <p:sldId id="4627" r:id="rId14"/>
    <p:sldId id="1728" r:id="rId15"/>
    <p:sldId id="4864" r:id="rId16"/>
    <p:sldId id="2262" r:id="rId17"/>
    <p:sldId id="4865" r:id="rId18"/>
    <p:sldId id="2263" r:id="rId19"/>
    <p:sldId id="4671" r:id="rId20"/>
    <p:sldId id="2272" r:id="rId21"/>
    <p:sldId id="2274" r:id="rId22"/>
    <p:sldId id="2276" r:id="rId23"/>
    <p:sldId id="4643" r:id="rId24"/>
    <p:sldId id="1482" r:id="rId25"/>
    <p:sldId id="1091" r:id="rId26"/>
    <p:sldId id="4871" r:id="rId27"/>
    <p:sldId id="4872" r:id="rId28"/>
    <p:sldId id="4873" r:id="rId29"/>
    <p:sldId id="4874" r:id="rId30"/>
    <p:sldId id="4875" r:id="rId31"/>
    <p:sldId id="4876" r:id="rId32"/>
    <p:sldId id="4877" r:id="rId33"/>
    <p:sldId id="4868" r:id="rId34"/>
    <p:sldId id="4869" r:id="rId35"/>
    <p:sldId id="2388" r:id="rId36"/>
    <p:sldId id="4885" r:id="rId37"/>
    <p:sldId id="4886" r:id="rId38"/>
    <p:sldId id="4589" r:id="rId39"/>
    <p:sldId id="4870" r:id="rId40"/>
    <p:sldId id="4887" r:id="rId41"/>
  </p:sldIdLst>
  <p:sldSz cx="12192000" cy="6858000"/>
  <p:notesSz cx="6858000" cy="9144000"/>
  <p:embeddedFontLs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Calibri Light" panose="020F0302020204030204" pitchFamily="34" charset="0"/>
      <p:regular r:id="rId47"/>
      <p:italic r:id="rId48"/>
    </p:embeddedFont>
  </p:embeddedFontLst>
  <p:custDataLst>
    <p:tags r:id="rId4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3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5.fntdata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font" Target="fonts/font3.fntdata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font" Target="fonts/font2.fntdata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font" Target="fonts/font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F$1:$PX$1</c:f>
              <c:strCache>
                <c:ptCount val="435"/>
                <c:pt idx="0">
                  <c:v>24-XII.20</c:v>
                </c:pt>
                <c:pt idx="1">
                  <c:v>25-XII.20</c:v>
                </c:pt>
                <c:pt idx="2">
                  <c:v>26-XII.20</c:v>
                </c:pt>
                <c:pt idx="3">
                  <c:v>27.XII.20</c:v>
                </c:pt>
                <c:pt idx="4">
                  <c:v>28.XII.20</c:v>
                </c:pt>
                <c:pt idx="5">
                  <c:v>29.XII.20</c:v>
                </c:pt>
                <c:pt idx="6">
                  <c:v>30.XII.20</c:v>
                </c:pt>
                <c:pt idx="7">
                  <c:v>31.XII.20</c:v>
                </c:pt>
                <c:pt idx="8">
                  <c:v>1.I.21</c:v>
                </c:pt>
                <c:pt idx="9">
                  <c:v>2.I.21</c:v>
                </c:pt>
                <c:pt idx="10">
                  <c:v>3.I.21</c:v>
                </c:pt>
                <c:pt idx="11">
                  <c:v>4.I.21</c:v>
                </c:pt>
                <c:pt idx="12">
                  <c:v>5.I.21</c:v>
                </c:pt>
                <c:pt idx="13">
                  <c:v>6.I.21</c:v>
                </c:pt>
                <c:pt idx="14">
                  <c:v>7.I.21</c:v>
                </c:pt>
                <c:pt idx="15">
                  <c:v>8.I.21</c:v>
                </c:pt>
                <c:pt idx="16">
                  <c:v>9.I.21</c:v>
                </c:pt>
                <c:pt idx="17">
                  <c:v>10.I.21</c:v>
                </c:pt>
                <c:pt idx="18">
                  <c:v>11.I.21</c:v>
                </c:pt>
                <c:pt idx="19">
                  <c:v>12.I.21</c:v>
                </c:pt>
                <c:pt idx="20">
                  <c:v>13.I.21</c:v>
                </c:pt>
                <c:pt idx="21">
                  <c:v>14.I.21</c:v>
                </c:pt>
                <c:pt idx="22">
                  <c:v>15.I.21</c:v>
                </c:pt>
                <c:pt idx="23">
                  <c:v>16.I.21</c:v>
                </c:pt>
                <c:pt idx="24">
                  <c:v>17.I.21</c:v>
                </c:pt>
                <c:pt idx="25">
                  <c:v>18.I.21</c:v>
                </c:pt>
                <c:pt idx="26">
                  <c:v>19.I.21</c:v>
                </c:pt>
                <c:pt idx="27">
                  <c:v>20.I.21</c:v>
                </c:pt>
                <c:pt idx="28">
                  <c:v>21.I.21</c:v>
                </c:pt>
                <c:pt idx="29">
                  <c:v>22.I.21</c:v>
                </c:pt>
                <c:pt idx="30">
                  <c:v>23.I.21</c:v>
                </c:pt>
                <c:pt idx="31">
                  <c:v>24.I.21</c:v>
                </c:pt>
                <c:pt idx="32">
                  <c:v>25.I.21</c:v>
                </c:pt>
                <c:pt idx="33">
                  <c:v>26.I.21</c:v>
                </c:pt>
                <c:pt idx="34">
                  <c:v>27.I.21</c:v>
                </c:pt>
                <c:pt idx="35">
                  <c:v>28.I.21</c:v>
                </c:pt>
                <c:pt idx="36">
                  <c:v>29.I.21</c:v>
                </c:pt>
                <c:pt idx="37">
                  <c:v>30.I.21</c:v>
                </c:pt>
                <c:pt idx="38">
                  <c:v>31.I.21</c:v>
                </c:pt>
                <c:pt idx="39">
                  <c:v>1.II.21</c:v>
                </c:pt>
                <c:pt idx="40">
                  <c:v>2.II.21</c:v>
                </c:pt>
                <c:pt idx="41">
                  <c:v>3.II.21</c:v>
                </c:pt>
                <c:pt idx="42">
                  <c:v>4.II.21</c:v>
                </c:pt>
                <c:pt idx="43">
                  <c:v>5.II.21</c:v>
                </c:pt>
                <c:pt idx="44">
                  <c:v>6.II.21</c:v>
                </c:pt>
                <c:pt idx="45">
                  <c:v>7.II.21</c:v>
                </c:pt>
                <c:pt idx="46">
                  <c:v>8.II.21</c:v>
                </c:pt>
                <c:pt idx="47">
                  <c:v>9.II.21</c:v>
                </c:pt>
                <c:pt idx="48">
                  <c:v>10.II.21</c:v>
                </c:pt>
                <c:pt idx="49">
                  <c:v>11.II.21</c:v>
                </c:pt>
                <c:pt idx="50">
                  <c:v>12.II.21</c:v>
                </c:pt>
                <c:pt idx="51">
                  <c:v>13.II.21</c:v>
                </c:pt>
                <c:pt idx="52">
                  <c:v>14.II.21</c:v>
                </c:pt>
                <c:pt idx="53">
                  <c:v>15.II.21</c:v>
                </c:pt>
                <c:pt idx="54">
                  <c:v>16.II.21</c:v>
                </c:pt>
                <c:pt idx="55">
                  <c:v>17.II.21</c:v>
                </c:pt>
                <c:pt idx="56">
                  <c:v>18.II.21</c:v>
                </c:pt>
                <c:pt idx="57">
                  <c:v>19.II.21</c:v>
                </c:pt>
                <c:pt idx="58">
                  <c:v>20.II.21</c:v>
                </c:pt>
                <c:pt idx="59">
                  <c:v>21.II.21</c:v>
                </c:pt>
                <c:pt idx="60">
                  <c:v>22.II.21</c:v>
                </c:pt>
                <c:pt idx="61">
                  <c:v>23.II.21</c:v>
                </c:pt>
                <c:pt idx="62">
                  <c:v>24.II.21</c:v>
                </c:pt>
                <c:pt idx="63">
                  <c:v>25.II.21</c:v>
                </c:pt>
                <c:pt idx="64">
                  <c:v>26.II.21</c:v>
                </c:pt>
                <c:pt idx="65">
                  <c:v>27.II.21</c:v>
                </c:pt>
                <c:pt idx="66">
                  <c:v>28.II.21</c:v>
                </c:pt>
                <c:pt idx="67">
                  <c:v>1.III.21</c:v>
                </c:pt>
                <c:pt idx="68">
                  <c:v>2.III.21</c:v>
                </c:pt>
                <c:pt idx="69">
                  <c:v>3.III.21</c:v>
                </c:pt>
                <c:pt idx="70">
                  <c:v>4.III.21</c:v>
                </c:pt>
                <c:pt idx="71">
                  <c:v>5.III.21</c:v>
                </c:pt>
                <c:pt idx="72">
                  <c:v>6.III.21</c:v>
                </c:pt>
                <c:pt idx="73">
                  <c:v>7.III.21</c:v>
                </c:pt>
                <c:pt idx="74">
                  <c:v>8.III.21</c:v>
                </c:pt>
                <c:pt idx="75">
                  <c:v>9.III.21</c:v>
                </c:pt>
                <c:pt idx="76">
                  <c:v>10.III.21</c:v>
                </c:pt>
                <c:pt idx="77">
                  <c:v>11.III.21</c:v>
                </c:pt>
                <c:pt idx="78">
                  <c:v>12.III.21</c:v>
                </c:pt>
                <c:pt idx="79">
                  <c:v>13.III.21</c:v>
                </c:pt>
                <c:pt idx="80">
                  <c:v>14.III.21</c:v>
                </c:pt>
                <c:pt idx="81">
                  <c:v>15.III.21</c:v>
                </c:pt>
                <c:pt idx="82">
                  <c:v>16.III.21</c:v>
                </c:pt>
                <c:pt idx="83">
                  <c:v>17.III.21</c:v>
                </c:pt>
                <c:pt idx="84">
                  <c:v>18.III.21</c:v>
                </c:pt>
                <c:pt idx="85">
                  <c:v>19.III.21</c:v>
                </c:pt>
                <c:pt idx="86">
                  <c:v>20.III.21</c:v>
                </c:pt>
                <c:pt idx="87">
                  <c:v>21.III.21</c:v>
                </c:pt>
                <c:pt idx="88">
                  <c:v>22.III.21</c:v>
                </c:pt>
                <c:pt idx="89">
                  <c:v>23.III.21</c:v>
                </c:pt>
                <c:pt idx="90">
                  <c:v>24.III.21</c:v>
                </c:pt>
                <c:pt idx="91">
                  <c:v>25.III.21</c:v>
                </c:pt>
                <c:pt idx="92">
                  <c:v>26.III.21</c:v>
                </c:pt>
                <c:pt idx="93">
                  <c:v>27.III.21</c:v>
                </c:pt>
                <c:pt idx="94">
                  <c:v>28.III.21</c:v>
                </c:pt>
                <c:pt idx="95">
                  <c:v>29.III.21</c:v>
                </c:pt>
                <c:pt idx="96">
                  <c:v>30.III.21</c:v>
                </c:pt>
                <c:pt idx="97">
                  <c:v>31.III.21</c:v>
                </c:pt>
                <c:pt idx="98">
                  <c:v>1.IV.21</c:v>
                </c:pt>
                <c:pt idx="99">
                  <c:v>2.IV.21</c:v>
                </c:pt>
                <c:pt idx="100">
                  <c:v>3.IV.21</c:v>
                </c:pt>
                <c:pt idx="101">
                  <c:v>4.IV.21</c:v>
                </c:pt>
                <c:pt idx="102">
                  <c:v>5.IV.21</c:v>
                </c:pt>
                <c:pt idx="103">
                  <c:v>6.IV.21</c:v>
                </c:pt>
                <c:pt idx="104">
                  <c:v>7.IV.21</c:v>
                </c:pt>
                <c:pt idx="105">
                  <c:v>8.IV.21</c:v>
                </c:pt>
                <c:pt idx="106">
                  <c:v>9.IV.21</c:v>
                </c:pt>
                <c:pt idx="107">
                  <c:v>10.IV.21</c:v>
                </c:pt>
                <c:pt idx="108">
                  <c:v>11.IV.21</c:v>
                </c:pt>
                <c:pt idx="109">
                  <c:v>12.IV.21</c:v>
                </c:pt>
                <c:pt idx="110">
                  <c:v>13.IV.21</c:v>
                </c:pt>
                <c:pt idx="111">
                  <c:v>14.IV.21</c:v>
                </c:pt>
                <c:pt idx="112">
                  <c:v>15.IV.21</c:v>
                </c:pt>
                <c:pt idx="113">
                  <c:v>16.IV.21</c:v>
                </c:pt>
                <c:pt idx="114">
                  <c:v>17.IV.21</c:v>
                </c:pt>
                <c:pt idx="115">
                  <c:v>18.IV.21</c:v>
                </c:pt>
                <c:pt idx="116">
                  <c:v>19.IV.21</c:v>
                </c:pt>
                <c:pt idx="117">
                  <c:v>20.IV.21</c:v>
                </c:pt>
                <c:pt idx="118">
                  <c:v>21.IV.21</c:v>
                </c:pt>
                <c:pt idx="119">
                  <c:v>22.IV.21</c:v>
                </c:pt>
                <c:pt idx="120">
                  <c:v>23.IV.21</c:v>
                </c:pt>
                <c:pt idx="121">
                  <c:v>24.IV.21</c:v>
                </c:pt>
                <c:pt idx="122">
                  <c:v>25.IV.21</c:v>
                </c:pt>
                <c:pt idx="123">
                  <c:v>26.IV.21</c:v>
                </c:pt>
                <c:pt idx="124">
                  <c:v>27.IV.21</c:v>
                </c:pt>
                <c:pt idx="125">
                  <c:v>28.IV.21</c:v>
                </c:pt>
                <c:pt idx="126">
                  <c:v>29.IV.21</c:v>
                </c:pt>
                <c:pt idx="127">
                  <c:v>30.IV.21</c:v>
                </c:pt>
                <c:pt idx="128">
                  <c:v>1.V.21</c:v>
                </c:pt>
                <c:pt idx="129">
                  <c:v>2.V.21</c:v>
                </c:pt>
                <c:pt idx="130">
                  <c:v>3.V.21</c:v>
                </c:pt>
                <c:pt idx="131">
                  <c:v>4.V.21</c:v>
                </c:pt>
                <c:pt idx="132">
                  <c:v>5.V.21</c:v>
                </c:pt>
                <c:pt idx="133">
                  <c:v>6.V.21</c:v>
                </c:pt>
                <c:pt idx="134">
                  <c:v>7.V.21</c:v>
                </c:pt>
                <c:pt idx="135">
                  <c:v>8.V.21</c:v>
                </c:pt>
                <c:pt idx="136">
                  <c:v>9.V.21</c:v>
                </c:pt>
                <c:pt idx="137">
                  <c:v>10.V.21</c:v>
                </c:pt>
                <c:pt idx="138">
                  <c:v>11.V.21</c:v>
                </c:pt>
                <c:pt idx="139">
                  <c:v>12.V.21</c:v>
                </c:pt>
                <c:pt idx="140">
                  <c:v>13.V.21</c:v>
                </c:pt>
                <c:pt idx="141">
                  <c:v>14.V.21</c:v>
                </c:pt>
                <c:pt idx="142">
                  <c:v>15.V.21</c:v>
                </c:pt>
                <c:pt idx="143">
                  <c:v>16.V.21</c:v>
                </c:pt>
                <c:pt idx="144">
                  <c:v>17.V.21</c:v>
                </c:pt>
                <c:pt idx="145">
                  <c:v>18.V.21</c:v>
                </c:pt>
                <c:pt idx="146">
                  <c:v>19.V.21</c:v>
                </c:pt>
                <c:pt idx="147">
                  <c:v>20.V.21</c:v>
                </c:pt>
                <c:pt idx="148">
                  <c:v>21.V.21</c:v>
                </c:pt>
                <c:pt idx="149">
                  <c:v>22.V.21</c:v>
                </c:pt>
                <c:pt idx="150">
                  <c:v>23.V.21</c:v>
                </c:pt>
                <c:pt idx="151">
                  <c:v>24.V.21</c:v>
                </c:pt>
                <c:pt idx="152">
                  <c:v>25.V.21</c:v>
                </c:pt>
                <c:pt idx="153">
                  <c:v>26.V.21</c:v>
                </c:pt>
                <c:pt idx="154">
                  <c:v>27.V.21</c:v>
                </c:pt>
                <c:pt idx="155">
                  <c:v>28.V.21</c:v>
                </c:pt>
                <c:pt idx="156">
                  <c:v>29.V.21</c:v>
                </c:pt>
                <c:pt idx="157">
                  <c:v>30.V.21</c:v>
                </c:pt>
                <c:pt idx="158">
                  <c:v>31.V.21</c:v>
                </c:pt>
                <c:pt idx="159">
                  <c:v>1.VI.21</c:v>
                </c:pt>
                <c:pt idx="160">
                  <c:v>2.VI.21</c:v>
                </c:pt>
                <c:pt idx="161">
                  <c:v>3.VI.21</c:v>
                </c:pt>
                <c:pt idx="162">
                  <c:v>4.VI.21</c:v>
                </c:pt>
                <c:pt idx="163">
                  <c:v>5.VI.21</c:v>
                </c:pt>
                <c:pt idx="164">
                  <c:v>6.VI.21</c:v>
                </c:pt>
                <c:pt idx="165">
                  <c:v>7.VI.21</c:v>
                </c:pt>
                <c:pt idx="166">
                  <c:v>8.VI.21</c:v>
                </c:pt>
                <c:pt idx="167">
                  <c:v>9.VI.21</c:v>
                </c:pt>
                <c:pt idx="168">
                  <c:v>10.VI.21</c:v>
                </c:pt>
                <c:pt idx="169">
                  <c:v>11.VI.21</c:v>
                </c:pt>
                <c:pt idx="170">
                  <c:v>12.VI.21</c:v>
                </c:pt>
                <c:pt idx="171">
                  <c:v>13.VI.21</c:v>
                </c:pt>
                <c:pt idx="172">
                  <c:v>14.VI.21</c:v>
                </c:pt>
                <c:pt idx="173">
                  <c:v>15.VI.21</c:v>
                </c:pt>
                <c:pt idx="174">
                  <c:v>16.VI.21</c:v>
                </c:pt>
                <c:pt idx="175">
                  <c:v>17.VI.21</c:v>
                </c:pt>
                <c:pt idx="176">
                  <c:v>18.VI.21</c:v>
                </c:pt>
                <c:pt idx="177">
                  <c:v>19.VI.21</c:v>
                </c:pt>
                <c:pt idx="178">
                  <c:v>20.VI.21</c:v>
                </c:pt>
                <c:pt idx="179">
                  <c:v>21.VI.21</c:v>
                </c:pt>
                <c:pt idx="180">
                  <c:v>22.VI.21</c:v>
                </c:pt>
                <c:pt idx="181">
                  <c:v>23.VI.21</c:v>
                </c:pt>
                <c:pt idx="182">
                  <c:v>24.VI.21</c:v>
                </c:pt>
                <c:pt idx="183">
                  <c:v>25.VI.21</c:v>
                </c:pt>
                <c:pt idx="184">
                  <c:v>26.VI.21</c:v>
                </c:pt>
                <c:pt idx="185">
                  <c:v>27.VI.21</c:v>
                </c:pt>
                <c:pt idx="186">
                  <c:v>28.VI.21</c:v>
                </c:pt>
                <c:pt idx="187">
                  <c:v>29.VI.21</c:v>
                </c:pt>
                <c:pt idx="188">
                  <c:v>30.VI.21</c:v>
                </c:pt>
                <c:pt idx="189">
                  <c:v>1.VII.21</c:v>
                </c:pt>
                <c:pt idx="190">
                  <c:v>2.VII.21</c:v>
                </c:pt>
                <c:pt idx="191">
                  <c:v>3.VII.21</c:v>
                </c:pt>
                <c:pt idx="192">
                  <c:v>4.VII.21</c:v>
                </c:pt>
                <c:pt idx="193">
                  <c:v>5.VII.21</c:v>
                </c:pt>
                <c:pt idx="194">
                  <c:v>6.VII.21</c:v>
                </c:pt>
                <c:pt idx="195">
                  <c:v>7.VII.21</c:v>
                </c:pt>
                <c:pt idx="196">
                  <c:v>8.VII.21</c:v>
                </c:pt>
                <c:pt idx="197">
                  <c:v>9.VII.21</c:v>
                </c:pt>
                <c:pt idx="198">
                  <c:v>10.VII.21</c:v>
                </c:pt>
                <c:pt idx="199">
                  <c:v>11.VII.21</c:v>
                </c:pt>
                <c:pt idx="200">
                  <c:v>12.VII.21</c:v>
                </c:pt>
                <c:pt idx="201">
                  <c:v>13.VII.21</c:v>
                </c:pt>
                <c:pt idx="202">
                  <c:v>14.VII.21</c:v>
                </c:pt>
                <c:pt idx="203">
                  <c:v>15.VII.21</c:v>
                </c:pt>
                <c:pt idx="204">
                  <c:v>16.VII.21</c:v>
                </c:pt>
                <c:pt idx="205">
                  <c:v>17.VII.21</c:v>
                </c:pt>
                <c:pt idx="206">
                  <c:v>18.VII.21</c:v>
                </c:pt>
                <c:pt idx="207">
                  <c:v>19.VII.21</c:v>
                </c:pt>
                <c:pt idx="208">
                  <c:v>20.VII.21</c:v>
                </c:pt>
                <c:pt idx="209">
                  <c:v>21.VII.21</c:v>
                </c:pt>
                <c:pt idx="210">
                  <c:v>22.VII.21</c:v>
                </c:pt>
                <c:pt idx="211">
                  <c:v>23.VII.21</c:v>
                </c:pt>
                <c:pt idx="212">
                  <c:v>24.VII.21</c:v>
                </c:pt>
                <c:pt idx="213">
                  <c:v>25.VII.21</c:v>
                </c:pt>
                <c:pt idx="214">
                  <c:v>26.VII.21</c:v>
                </c:pt>
                <c:pt idx="215">
                  <c:v>27.VII.21</c:v>
                </c:pt>
                <c:pt idx="216">
                  <c:v>28.VII.21</c:v>
                </c:pt>
                <c:pt idx="217">
                  <c:v>29.VII.21</c:v>
                </c:pt>
                <c:pt idx="218">
                  <c:v>30.VII.21</c:v>
                </c:pt>
                <c:pt idx="219">
                  <c:v>31.VII.21</c:v>
                </c:pt>
                <c:pt idx="220">
                  <c:v>1.VIII.21</c:v>
                </c:pt>
                <c:pt idx="221">
                  <c:v>2.VIII.21</c:v>
                </c:pt>
                <c:pt idx="222">
                  <c:v>3.VIII.21</c:v>
                </c:pt>
                <c:pt idx="223">
                  <c:v>4.VIII.21</c:v>
                </c:pt>
                <c:pt idx="224">
                  <c:v>5.VIII.21</c:v>
                </c:pt>
                <c:pt idx="225">
                  <c:v>6.VIII.21</c:v>
                </c:pt>
                <c:pt idx="226">
                  <c:v>7.VIII.21</c:v>
                </c:pt>
                <c:pt idx="227">
                  <c:v>8.VIII.21</c:v>
                </c:pt>
                <c:pt idx="228">
                  <c:v>9.VIII.21</c:v>
                </c:pt>
                <c:pt idx="229">
                  <c:v>10.VIII.21</c:v>
                </c:pt>
                <c:pt idx="230">
                  <c:v>11.VIII.21</c:v>
                </c:pt>
                <c:pt idx="231">
                  <c:v>12.VIII.21</c:v>
                </c:pt>
                <c:pt idx="232">
                  <c:v>13.VIII.21</c:v>
                </c:pt>
                <c:pt idx="233">
                  <c:v>14.VIII.21</c:v>
                </c:pt>
                <c:pt idx="234">
                  <c:v>15.VIII.21</c:v>
                </c:pt>
                <c:pt idx="235">
                  <c:v>16.VIII.21</c:v>
                </c:pt>
                <c:pt idx="236">
                  <c:v>17.VIII.21</c:v>
                </c:pt>
                <c:pt idx="237">
                  <c:v>18.VIII.21</c:v>
                </c:pt>
                <c:pt idx="238">
                  <c:v>19.VIII.21</c:v>
                </c:pt>
                <c:pt idx="239">
                  <c:v>20.VIII.21</c:v>
                </c:pt>
                <c:pt idx="240">
                  <c:v>21.VIII.21</c:v>
                </c:pt>
                <c:pt idx="241">
                  <c:v>22.VIII.21</c:v>
                </c:pt>
                <c:pt idx="242">
                  <c:v>23.VIII.21</c:v>
                </c:pt>
                <c:pt idx="243">
                  <c:v>24.VIII.21</c:v>
                </c:pt>
                <c:pt idx="244">
                  <c:v>25.VIII.21</c:v>
                </c:pt>
                <c:pt idx="245">
                  <c:v>26.VIII.21</c:v>
                </c:pt>
                <c:pt idx="246">
                  <c:v>27.VIII.21</c:v>
                </c:pt>
                <c:pt idx="247">
                  <c:v>28.VIII.21</c:v>
                </c:pt>
                <c:pt idx="248">
                  <c:v>29.VIII.21</c:v>
                </c:pt>
                <c:pt idx="249">
                  <c:v>30.VIII.21</c:v>
                </c:pt>
                <c:pt idx="250">
                  <c:v>31.VIII.21</c:v>
                </c:pt>
                <c:pt idx="251">
                  <c:v>1.IX.21</c:v>
                </c:pt>
                <c:pt idx="252">
                  <c:v>2.IX.21</c:v>
                </c:pt>
                <c:pt idx="253">
                  <c:v>3.IX.21</c:v>
                </c:pt>
                <c:pt idx="254">
                  <c:v>4.IX.21</c:v>
                </c:pt>
                <c:pt idx="255">
                  <c:v>5.IX.21</c:v>
                </c:pt>
                <c:pt idx="256">
                  <c:v>6.IX.21</c:v>
                </c:pt>
                <c:pt idx="257">
                  <c:v>7.IX.21</c:v>
                </c:pt>
                <c:pt idx="258">
                  <c:v>8.IX.21</c:v>
                </c:pt>
                <c:pt idx="259">
                  <c:v>9.IX.21</c:v>
                </c:pt>
                <c:pt idx="260">
                  <c:v>10.IX.21</c:v>
                </c:pt>
                <c:pt idx="261">
                  <c:v>11.IX.21</c:v>
                </c:pt>
                <c:pt idx="262">
                  <c:v>12.IX.21</c:v>
                </c:pt>
                <c:pt idx="263">
                  <c:v>13.IX.21</c:v>
                </c:pt>
                <c:pt idx="264">
                  <c:v>14.IX.21</c:v>
                </c:pt>
                <c:pt idx="265">
                  <c:v>15.IX.21</c:v>
                </c:pt>
                <c:pt idx="266">
                  <c:v>16.IX.21</c:v>
                </c:pt>
                <c:pt idx="267">
                  <c:v>17.IX.21</c:v>
                </c:pt>
                <c:pt idx="268">
                  <c:v>18.IX.21</c:v>
                </c:pt>
                <c:pt idx="269">
                  <c:v>19.IX.21</c:v>
                </c:pt>
                <c:pt idx="270">
                  <c:v>20.IX.21</c:v>
                </c:pt>
                <c:pt idx="271">
                  <c:v>21.IX.21</c:v>
                </c:pt>
                <c:pt idx="272">
                  <c:v>22.IX.21</c:v>
                </c:pt>
                <c:pt idx="273">
                  <c:v>23.IX.21</c:v>
                </c:pt>
                <c:pt idx="274">
                  <c:v>24.IX.21</c:v>
                </c:pt>
                <c:pt idx="275">
                  <c:v>25.IX.21</c:v>
                </c:pt>
                <c:pt idx="276">
                  <c:v>26.IX.21</c:v>
                </c:pt>
                <c:pt idx="277">
                  <c:v>27.IX.21</c:v>
                </c:pt>
                <c:pt idx="278">
                  <c:v>28.IX.21</c:v>
                </c:pt>
                <c:pt idx="279">
                  <c:v>29.IX.21</c:v>
                </c:pt>
                <c:pt idx="280">
                  <c:v>30.IX.21</c:v>
                </c:pt>
                <c:pt idx="281">
                  <c:v>1.X.21</c:v>
                </c:pt>
                <c:pt idx="282">
                  <c:v>2.X.21</c:v>
                </c:pt>
                <c:pt idx="283">
                  <c:v>3.X.21</c:v>
                </c:pt>
                <c:pt idx="284">
                  <c:v>4.X.21</c:v>
                </c:pt>
                <c:pt idx="285">
                  <c:v>5.X.21</c:v>
                </c:pt>
                <c:pt idx="286">
                  <c:v>6.X.21</c:v>
                </c:pt>
                <c:pt idx="287">
                  <c:v>7.X.21</c:v>
                </c:pt>
                <c:pt idx="288">
                  <c:v>8.X.21</c:v>
                </c:pt>
                <c:pt idx="289">
                  <c:v>9.X.21</c:v>
                </c:pt>
                <c:pt idx="290">
                  <c:v>10.X.21</c:v>
                </c:pt>
                <c:pt idx="291">
                  <c:v>11.X.21</c:v>
                </c:pt>
                <c:pt idx="292">
                  <c:v>12.X.21</c:v>
                </c:pt>
                <c:pt idx="293">
                  <c:v>13.X.21</c:v>
                </c:pt>
                <c:pt idx="294">
                  <c:v>14.X.21</c:v>
                </c:pt>
                <c:pt idx="295">
                  <c:v>15.X.21</c:v>
                </c:pt>
                <c:pt idx="296">
                  <c:v>16.X.21</c:v>
                </c:pt>
                <c:pt idx="297">
                  <c:v>17.X.21</c:v>
                </c:pt>
                <c:pt idx="298">
                  <c:v>18.X.21</c:v>
                </c:pt>
                <c:pt idx="299">
                  <c:v>19.X.21</c:v>
                </c:pt>
                <c:pt idx="300">
                  <c:v>20.X.21</c:v>
                </c:pt>
                <c:pt idx="301">
                  <c:v>21.X.21</c:v>
                </c:pt>
                <c:pt idx="302">
                  <c:v>22.X.21</c:v>
                </c:pt>
                <c:pt idx="303">
                  <c:v>23.X.21</c:v>
                </c:pt>
                <c:pt idx="304">
                  <c:v>24.X.21</c:v>
                </c:pt>
                <c:pt idx="305">
                  <c:v>25.X.21</c:v>
                </c:pt>
                <c:pt idx="306">
                  <c:v>26.X.21</c:v>
                </c:pt>
                <c:pt idx="307">
                  <c:v>27.X.21</c:v>
                </c:pt>
                <c:pt idx="308">
                  <c:v>28.X.21</c:v>
                </c:pt>
                <c:pt idx="309">
                  <c:v>29.X.21</c:v>
                </c:pt>
                <c:pt idx="310">
                  <c:v>30.X.21</c:v>
                </c:pt>
                <c:pt idx="311">
                  <c:v>31.X.21</c:v>
                </c:pt>
                <c:pt idx="312">
                  <c:v>1.XI.21</c:v>
                </c:pt>
                <c:pt idx="313">
                  <c:v>2.XI.21</c:v>
                </c:pt>
                <c:pt idx="314">
                  <c:v>3.XI.21</c:v>
                </c:pt>
                <c:pt idx="315">
                  <c:v>4.XI.21</c:v>
                </c:pt>
                <c:pt idx="316">
                  <c:v>5.XI.21</c:v>
                </c:pt>
                <c:pt idx="317">
                  <c:v>6.XI.21</c:v>
                </c:pt>
                <c:pt idx="318">
                  <c:v>7.XI.21</c:v>
                </c:pt>
                <c:pt idx="319">
                  <c:v>8.XI.21</c:v>
                </c:pt>
                <c:pt idx="320">
                  <c:v>9.XI.21</c:v>
                </c:pt>
                <c:pt idx="321">
                  <c:v>10.XI.21</c:v>
                </c:pt>
                <c:pt idx="322">
                  <c:v>11.XI.21</c:v>
                </c:pt>
                <c:pt idx="323">
                  <c:v>12.XI.21</c:v>
                </c:pt>
                <c:pt idx="324">
                  <c:v>13.XI.21</c:v>
                </c:pt>
                <c:pt idx="325">
                  <c:v>14.XI.21</c:v>
                </c:pt>
                <c:pt idx="326">
                  <c:v>15.XI.21</c:v>
                </c:pt>
                <c:pt idx="327">
                  <c:v>16.XI.21</c:v>
                </c:pt>
                <c:pt idx="328">
                  <c:v>17.XI.21</c:v>
                </c:pt>
                <c:pt idx="329">
                  <c:v>18.XI.21</c:v>
                </c:pt>
                <c:pt idx="330">
                  <c:v>19.XI.21</c:v>
                </c:pt>
                <c:pt idx="331">
                  <c:v>20.XI.21</c:v>
                </c:pt>
                <c:pt idx="332">
                  <c:v>21.XI.21</c:v>
                </c:pt>
                <c:pt idx="333">
                  <c:v>22.XI.21</c:v>
                </c:pt>
                <c:pt idx="334">
                  <c:v>23.XI.21</c:v>
                </c:pt>
                <c:pt idx="335">
                  <c:v>24.XI.21</c:v>
                </c:pt>
                <c:pt idx="336">
                  <c:v>25.XI.21</c:v>
                </c:pt>
                <c:pt idx="337">
                  <c:v>26.XI.21</c:v>
                </c:pt>
                <c:pt idx="338">
                  <c:v>27.XI.21</c:v>
                </c:pt>
                <c:pt idx="339">
                  <c:v>28.XI.21</c:v>
                </c:pt>
                <c:pt idx="340">
                  <c:v>29.XI.21</c:v>
                </c:pt>
                <c:pt idx="341">
                  <c:v>30.XI.21</c:v>
                </c:pt>
                <c:pt idx="342">
                  <c:v>1.XII.21</c:v>
                </c:pt>
                <c:pt idx="343">
                  <c:v>2.XII.21</c:v>
                </c:pt>
                <c:pt idx="344">
                  <c:v>3.XII.21</c:v>
                </c:pt>
                <c:pt idx="345">
                  <c:v>4.XII.21</c:v>
                </c:pt>
                <c:pt idx="346">
                  <c:v>5.XII.21</c:v>
                </c:pt>
                <c:pt idx="347">
                  <c:v>6.XII.21</c:v>
                </c:pt>
                <c:pt idx="348">
                  <c:v>7.XII.21</c:v>
                </c:pt>
                <c:pt idx="349">
                  <c:v>8.XII.21</c:v>
                </c:pt>
                <c:pt idx="350">
                  <c:v>9.XII.21</c:v>
                </c:pt>
                <c:pt idx="351">
                  <c:v>10.XII.21</c:v>
                </c:pt>
                <c:pt idx="352">
                  <c:v>11.XII.21</c:v>
                </c:pt>
                <c:pt idx="353">
                  <c:v>12.XII.21</c:v>
                </c:pt>
                <c:pt idx="354">
                  <c:v>13.XII.21</c:v>
                </c:pt>
                <c:pt idx="355">
                  <c:v>14.XII.21</c:v>
                </c:pt>
                <c:pt idx="356">
                  <c:v>15.XII.21</c:v>
                </c:pt>
                <c:pt idx="357">
                  <c:v>16.XII.21</c:v>
                </c:pt>
                <c:pt idx="358">
                  <c:v>17.XII.21</c:v>
                </c:pt>
                <c:pt idx="359">
                  <c:v>18.XII.21</c:v>
                </c:pt>
                <c:pt idx="360">
                  <c:v>19.XII.21</c:v>
                </c:pt>
                <c:pt idx="361">
                  <c:v>20.XII.21</c:v>
                </c:pt>
                <c:pt idx="362">
                  <c:v>21.XII.21</c:v>
                </c:pt>
                <c:pt idx="363">
                  <c:v>22.XII.21</c:v>
                </c:pt>
                <c:pt idx="364">
                  <c:v>23.XII.21</c:v>
                </c:pt>
                <c:pt idx="365">
                  <c:v>24.XII.21</c:v>
                </c:pt>
                <c:pt idx="366">
                  <c:v>27.XII.21</c:v>
                </c:pt>
                <c:pt idx="367">
                  <c:v>28.XII.21</c:v>
                </c:pt>
                <c:pt idx="368">
                  <c:v>29.XII.21</c:v>
                </c:pt>
                <c:pt idx="369">
                  <c:v>30.XII.21</c:v>
                </c:pt>
                <c:pt idx="370">
                  <c:v>31.XII.21</c:v>
                </c:pt>
                <c:pt idx="371">
                  <c:v>2.I.22</c:v>
                </c:pt>
                <c:pt idx="372">
                  <c:v>3.I.22</c:v>
                </c:pt>
                <c:pt idx="373">
                  <c:v>4.I.22</c:v>
                </c:pt>
                <c:pt idx="374">
                  <c:v>5.I.22</c:v>
                </c:pt>
                <c:pt idx="375">
                  <c:v>6.I.22</c:v>
                </c:pt>
                <c:pt idx="376">
                  <c:v>7.I.22</c:v>
                </c:pt>
                <c:pt idx="377">
                  <c:v>8.I.22</c:v>
                </c:pt>
                <c:pt idx="378">
                  <c:v>9.I.22</c:v>
                </c:pt>
                <c:pt idx="379">
                  <c:v>10.I.22</c:v>
                </c:pt>
                <c:pt idx="380">
                  <c:v>11.I.22</c:v>
                </c:pt>
                <c:pt idx="381">
                  <c:v>12.I.22</c:v>
                </c:pt>
                <c:pt idx="382">
                  <c:v>13.I.22</c:v>
                </c:pt>
                <c:pt idx="383">
                  <c:v>14.I.22</c:v>
                </c:pt>
                <c:pt idx="384">
                  <c:v>15.I.22</c:v>
                </c:pt>
                <c:pt idx="385">
                  <c:v>16.I.22</c:v>
                </c:pt>
                <c:pt idx="386">
                  <c:v>17.I.22</c:v>
                </c:pt>
                <c:pt idx="387">
                  <c:v>18.I.22</c:v>
                </c:pt>
                <c:pt idx="388">
                  <c:v>19.I.22</c:v>
                </c:pt>
                <c:pt idx="389">
                  <c:v>20.I.22</c:v>
                </c:pt>
                <c:pt idx="390">
                  <c:v>21.I.22</c:v>
                </c:pt>
                <c:pt idx="391">
                  <c:v>22.I.22</c:v>
                </c:pt>
                <c:pt idx="392">
                  <c:v>23.I.22</c:v>
                </c:pt>
                <c:pt idx="393">
                  <c:v>24.I.22</c:v>
                </c:pt>
                <c:pt idx="394">
                  <c:v>25.I.22</c:v>
                </c:pt>
                <c:pt idx="395">
                  <c:v>26.I.22</c:v>
                </c:pt>
                <c:pt idx="396">
                  <c:v>27.I.22</c:v>
                </c:pt>
                <c:pt idx="397">
                  <c:v>28.I.22</c:v>
                </c:pt>
                <c:pt idx="398">
                  <c:v>29.I.22</c:v>
                </c:pt>
                <c:pt idx="399">
                  <c:v>30.I.22</c:v>
                </c:pt>
                <c:pt idx="400">
                  <c:v>31.I.22</c:v>
                </c:pt>
                <c:pt idx="401">
                  <c:v>1.II.22</c:v>
                </c:pt>
                <c:pt idx="402">
                  <c:v>2.II.22</c:v>
                </c:pt>
                <c:pt idx="403">
                  <c:v>3.II.22</c:v>
                </c:pt>
                <c:pt idx="404">
                  <c:v>4.II.22</c:v>
                </c:pt>
                <c:pt idx="405">
                  <c:v>5.II.22</c:v>
                </c:pt>
                <c:pt idx="406">
                  <c:v>6.II.22</c:v>
                </c:pt>
                <c:pt idx="407">
                  <c:v>7.II.22</c:v>
                </c:pt>
                <c:pt idx="408">
                  <c:v>8.II.22</c:v>
                </c:pt>
                <c:pt idx="409">
                  <c:v>9.II.22</c:v>
                </c:pt>
                <c:pt idx="410">
                  <c:v>10.II.22</c:v>
                </c:pt>
                <c:pt idx="411">
                  <c:v>11.II.22</c:v>
                </c:pt>
                <c:pt idx="412">
                  <c:v>12.II.22</c:v>
                </c:pt>
                <c:pt idx="413">
                  <c:v>14.II.22</c:v>
                </c:pt>
                <c:pt idx="414">
                  <c:v>15.II.22</c:v>
                </c:pt>
                <c:pt idx="415">
                  <c:v>16.II.22</c:v>
                </c:pt>
                <c:pt idx="416">
                  <c:v>17.II.22</c:v>
                </c:pt>
                <c:pt idx="417">
                  <c:v>18.II.22</c:v>
                </c:pt>
                <c:pt idx="418">
                  <c:v>19.II.22</c:v>
                </c:pt>
                <c:pt idx="419">
                  <c:v>21.II.22</c:v>
                </c:pt>
                <c:pt idx="420">
                  <c:v>22.II.22</c:v>
                </c:pt>
                <c:pt idx="421">
                  <c:v>23.II.22</c:v>
                </c:pt>
                <c:pt idx="422">
                  <c:v>24.II.22</c:v>
                </c:pt>
                <c:pt idx="423">
                  <c:v>25.II.22</c:v>
                </c:pt>
                <c:pt idx="424">
                  <c:v>28.II.22</c:v>
                </c:pt>
                <c:pt idx="425">
                  <c:v>1.III.22</c:v>
                </c:pt>
                <c:pt idx="426">
                  <c:v>2.III.22</c:v>
                </c:pt>
                <c:pt idx="427">
                  <c:v>3.III.22</c:v>
                </c:pt>
                <c:pt idx="428">
                  <c:v>4.III.22</c:v>
                </c:pt>
                <c:pt idx="429">
                  <c:v>5.III.22</c:v>
                </c:pt>
                <c:pt idx="430">
                  <c:v>7.III.22</c:v>
                </c:pt>
                <c:pt idx="431">
                  <c:v>8.III.22</c:v>
                </c:pt>
                <c:pt idx="432">
                  <c:v>9.III.22</c:v>
                </c:pt>
                <c:pt idx="433">
                  <c:v>10.III.22</c:v>
                </c:pt>
                <c:pt idx="434">
                  <c:v>11.III.22</c:v>
                </c:pt>
              </c:strCache>
            </c:strRef>
          </c:cat>
          <c:val>
            <c:numRef>
              <c:f>List1!$F$2:$PX$2</c:f>
              <c:numCache>
                <c:formatCode>General</c:formatCode>
                <c:ptCount val="435"/>
                <c:pt idx="3">
                  <c:v>1050</c:v>
                </c:pt>
                <c:pt idx="4">
                  <c:v>2942</c:v>
                </c:pt>
                <c:pt idx="5">
                  <c:v>5609</c:v>
                </c:pt>
                <c:pt idx="6">
                  <c:v>8312</c:v>
                </c:pt>
                <c:pt idx="7">
                  <c:v>9202</c:v>
                </c:pt>
                <c:pt idx="8">
                  <c:v>9439</c:v>
                </c:pt>
                <c:pt idx="9">
                  <c:v>10599</c:v>
                </c:pt>
                <c:pt idx="10">
                  <c:v>11441</c:v>
                </c:pt>
                <c:pt idx="11">
                  <c:v>14607</c:v>
                </c:pt>
                <c:pt idx="12">
                  <c:v>18524</c:v>
                </c:pt>
                <c:pt idx="13">
                  <c:v>23452</c:v>
                </c:pt>
                <c:pt idx="14">
                  <c:v>29284</c:v>
                </c:pt>
                <c:pt idx="15">
                  <c:v>36070</c:v>
                </c:pt>
                <c:pt idx="16">
                  <c:v>37233</c:v>
                </c:pt>
                <c:pt idx="17">
                  <c:v>38191</c:v>
                </c:pt>
                <c:pt idx="18">
                  <c:v>44600</c:v>
                </c:pt>
                <c:pt idx="19">
                  <c:v>52016</c:v>
                </c:pt>
                <c:pt idx="20">
                  <c:v>58626</c:v>
                </c:pt>
                <c:pt idx="21">
                  <c:v>65609</c:v>
                </c:pt>
                <c:pt idx="22">
                  <c:v>71800</c:v>
                </c:pt>
                <c:pt idx="23">
                  <c:v>72736</c:v>
                </c:pt>
                <c:pt idx="24">
                  <c:v>73284</c:v>
                </c:pt>
                <c:pt idx="25">
                  <c:v>77968</c:v>
                </c:pt>
                <c:pt idx="26">
                  <c:v>81767</c:v>
                </c:pt>
                <c:pt idx="27">
                  <c:v>85488</c:v>
                </c:pt>
                <c:pt idx="28">
                  <c:v>88876</c:v>
                </c:pt>
                <c:pt idx="29">
                  <c:v>91768</c:v>
                </c:pt>
                <c:pt idx="30">
                  <c:v>92156</c:v>
                </c:pt>
                <c:pt idx="31">
                  <c:v>92392</c:v>
                </c:pt>
                <c:pt idx="32">
                  <c:v>94000</c:v>
                </c:pt>
                <c:pt idx="33">
                  <c:v>95766</c:v>
                </c:pt>
                <c:pt idx="34">
                  <c:v>97214</c:v>
                </c:pt>
                <c:pt idx="35">
                  <c:v>98601</c:v>
                </c:pt>
                <c:pt idx="36">
                  <c:v>99881</c:v>
                </c:pt>
                <c:pt idx="37">
                  <c:v>99952</c:v>
                </c:pt>
                <c:pt idx="38">
                  <c:v>100023</c:v>
                </c:pt>
                <c:pt idx="39">
                  <c:v>100917</c:v>
                </c:pt>
                <c:pt idx="40">
                  <c:v>101785</c:v>
                </c:pt>
                <c:pt idx="41">
                  <c:v>102601</c:v>
                </c:pt>
                <c:pt idx="42">
                  <c:v>103310</c:v>
                </c:pt>
                <c:pt idx="43">
                  <c:v>104238</c:v>
                </c:pt>
                <c:pt idx="44">
                  <c:v>104289</c:v>
                </c:pt>
                <c:pt idx="45">
                  <c:v>104340</c:v>
                </c:pt>
                <c:pt idx="46">
                  <c:v>104980</c:v>
                </c:pt>
                <c:pt idx="47">
                  <c:v>105635</c:v>
                </c:pt>
                <c:pt idx="48">
                  <c:v>106499</c:v>
                </c:pt>
                <c:pt idx="49">
                  <c:v>107553</c:v>
                </c:pt>
                <c:pt idx="50">
                  <c:v>108755</c:v>
                </c:pt>
                <c:pt idx="51">
                  <c:v>109140</c:v>
                </c:pt>
                <c:pt idx="52">
                  <c:v>109324</c:v>
                </c:pt>
                <c:pt idx="53">
                  <c:v>110646</c:v>
                </c:pt>
                <c:pt idx="54">
                  <c:v>111937</c:v>
                </c:pt>
                <c:pt idx="55">
                  <c:v>113314</c:v>
                </c:pt>
                <c:pt idx="56">
                  <c:v>114878</c:v>
                </c:pt>
                <c:pt idx="57">
                  <c:v>116735</c:v>
                </c:pt>
                <c:pt idx="58">
                  <c:v>117196</c:v>
                </c:pt>
                <c:pt idx="59">
                  <c:v>117359</c:v>
                </c:pt>
                <c:pt idx="60">
                  <c:v>118950</c:v>
                </c:pt>
                <c:pt idx="61">
                  <c:v>121243</c:v>
                </c:pt>
                <c:pt idx="62">
                  <c:v>123744</c:v>
                </c:pt>
                <c:pt idx="63">
                  <c:v>126775</c:v>
                </c:pt>
                <c:pt idx="64">
                  <c:v>129380</c:v>
                </c:pt>
                <c:pt idx="65">
                  <c:v>129687</c:v>
                </c:pt>
                <c:pt idx="66">
                  <c:v>129908</c:v>
                </c:pt>
                <c:pt idx="67">
                  <c:v>132455</c:v>
                </c:pt>
                <c:pt idx="68">
                  <c:v>135211</c:v>
                </c:pt>
                <c:pt idx="69">
                  <c:v>137880</c:v>
                </c:pt>
                <c:pt idx="70">
                  <c:v>140335</c:v>
                </c:pt>
                <c:pt idx="71">
                  <c:v>143301</c:v>
                </c:pt>
                <c:pt idx="72">
                  <c:v>144008</c:v>
                </c:pt>
                <c:pt idx="73">
                  <c:v>144523</c:v>
                </c:pt>
                <c:pt idx="74">
                  <c:v>146471</c:v>
                </c:pt>
                <c:pt idx="75">
                  <c:v>148617</c:v>
                </c:pt>
                <c:pt idx="76">
                  <c:v>150865</c:v>
                </c:pt>
                <c:pt idx="77">
                  <c:v>153866</c:v>
                </c:pt>
                <c:pt idx="78">
                  <c:v>156487</c:v>
                </c:pt>
                <c:pt idx="79">
                  <c:v>157145</c:v>
                </c:pt>
                <c:pt idx="80">
                  <c:v>157714</c:v>
                </c:pt>
                <c:pt idx="81">
                  <c:v>159302</c:v>
                </c:pt>
                <c:pt idx="82">
                  <c:v>161633</c:v>
                </c:pt>
                <c:pt idx="83">
                  <c:v>163948</c:v>
                </c:pt>
                <c:pt idx="84">
                  <c:v>165976</c:v>
                </c:pt>
                <c:pt idx="85">
                  <c:v>168237</c:v>
                </c:pt>
                <c:pt idx="86">
                  <c:v>169112</c:v>
                </c:pt>
                <c:pt idx="87">
                  <c:v>169559</c:v>
                </c:pt>
                <c:pt idx="88">
                  <c:v>170712</c:v>
                </c:pt>
                <c:pt idx="89">
                  <c:v>171950</c:v>
                </c:pt>
                <c:pt idx="90">
                  <c:v>173019</c:v>
                </c:pt>
                <c:pt idx="91">
                  <c:v>174315</c:v>
                </c:pt>
                <c:pt idx="92">
                  <c:v>175693</c:v>
                </c:pt>
                <c:pt idx="93">
                  <c:v>176067</c:v>
                </c:pt>
                <c:pt idx="94">
                  <c:v>176411</c:v>
                </c:pt>
                <c:pt idx="95">
                  <c:v>177194</c:v>
                </c:pt>
                <c:pt idx="96">
                  <c:v>178223</c:v>
                </c:pt>
                <c:pt idx="97">
                  <c:v>179345</c:v>
                </c:pt>
                <c:pt idx="98">
                  <c:v>180449</c:v>
                </c:pt>
                <c:pt idx="99">
                  <c:v>180717</c:v>
                </c:pt>
                <c:pt idx="100">
                  <c:v>180837</c:v>
                </c:pt>
                <c:pt idx="101">
                  <c:v>180952</c:v>
                </c:pt>
                <c:pt idx="102">
                  <c:v>181024</c:v>
                </c:pt>
                <c:pt idx="103">
                  <c:v>181588</c:v>
                </c:pt>
                <c:pt idx="104">
                  <c:v>182262</c:v>
                </c:pt>
                <c:pt idx="105">
                  <c:v>183508</c:v>
                </c:pt>
                <c:pt idx="106">
                  <c:v>184785</c:v>
                </c:pt>
                <c:pt idx="107">
                  <c:v>185162</c:v>
                </c:pt>
                <c:pt idx="108">
                  <c:v>185412</c:v>
                </c:pt>
                <c:pt idx="109">
                  <c:v>186352</c:v>
                </c:pt>
                <c:pt idx="110">
                  <c:v>187167</c:v>
                </c:pt>
                <c:pt idx="111">
                  <c:v>188111</c:v>
                </c:pt>
                <c:pt idx="112">
                  <c:v>189479</c:v>
                </c:pt>
                <c:pt idx="113">
                  <c:v>191027</c:v>
                </c:pt>
                <c:pt idx="114">
                  <c:v>191450</c:v>
                </c:pt>
                <c:pt idx="115">
                  <c:v>191891</c:v>
                </c:pt>
                <c:pt idx="116">
                  <c:v>192998</c:v>
                </c:pt>
                <c:pt idx="117">
                  <c:v>194047</c:v>
                </c:pt>
                <c:pt idx="118">
                  <c:v>195339</c:v>
                </c:pt>
                <c:pt idx="119">
                  <c:v>196810</c:v>
                </c:pt>
                <c:pt idx="120">
                  <c:v>198325</c:v>
                </c:pt>
                <c:pt idx="121">
                  <c:v>198765</c:v>
                </c:pt>
                <c:pt idx="122">
                  <c:v>199139</c:v>
                </c:pt>
                <c:pt idx="123">
                  <c:v>200336</c:v>
                </c:pt>
                <c:pt idx="124">
                  <c:v>201426</c:v>
                </c:pt>
                <c:pt idx="125">
                  <c:v>202815</c:v>
                </c:pt>
                <c:pt idx="126">
                  <c:v>204291</c:v>
                </c:pt>
                <c:pt idx="127">
                  <c:v>205695</c:v>
                </c:pt>
                <c:pt idx="128">
                  <c:v>206032</c:v>
                </c:pt>
                <c:pt idx="129">
                  <c:v>206369</c:v>
                </c:pt>
                <c:pt idx="130">
                  <c:v>207452</c:v>
                </c:pt>
                <c:pt idx="131">
                  <c:v>208558</c:v>
                </c:pt>
                <c:pt idx="132">
                  <c:v>209705</c:v>
                </c:pt>
                <c:pt idx="133">
                  <c:v>210902</c:v>
                </c:pt>
                <c:pt idx="134">
                  <c:v>212208</c:v>
                </c:pt>
                <c:pt idx="135">
                  <c:v>212710</c:v>
                </c:pt>
                <c:pt idx="136">
                  <c:v>213019</c:v>
                </c:pt>
                <c:pt idx="137">
                  <c:v>213991</c:v>
                </c:pt>
                <c:pt idx="138">
                  <c:v>215019</c:v>
                </c:pt>
                <c:pt idx="139">
                  <c:v>216059</c:v>
                </c:pt>
                <c:pt idx="140">
                  <c:v>217201</c:v>
                </c:pt>
                <c:pt idx="141">
                  <c:v>218205</c:v>
                </c:pt>
                <c:pt idx="142">
                  <c:v>218647</c:v>
                </c:pt>
                <c:pt idx="143">
                  <c:v>218933</c:v>
                </c:pt>
                <c:pt idx="144">
                  <c:v>219721</c:v>
                </c:pt>
                <c:pt idx="145">
                  <c:v>220604</c:v>
                </c:pt>
                <c:pt idx="146">
                  <c:v>221514</c:v>
                </c:pt>
                <c:pt idx="147">
                  <c:v>222452</c:v>
                </c:pt>
                <c:pt idx="148">
                  <c:v>223381</c:v>
                </c:pt>
                <c:pt idx="149">
                  <c:v>223734</c:v>
                </c:pt>
                <c:pt idx="150">
                  <c:v>223963</c:v>
                </c:pt>
                <c:pt idx="151">
                  <c:v>224516</c:v>
                </c:pt>
                <c:pt idx="152">
                  <c:v>225145</c:v>
                </c:pt>
                <c:pt idx="153">
                  <c:v>225999</c:v>
                </c:pt>
                <c:pt idx="154">
                  <c:v>226781</c:v>
                </c:pt>
                <c:pt idx="155">
                  <c:v>227610</c:v>
                </c:pt>
                <c:pt idx="156">
                  <c:v>227977</c:v>
                </c:pt>
                <c:pt idx="157">
                  <c:v>228266</c:v>
                </c:pt>
                <c:pt idx="158">
                  <c:v>228962</c:v>
                </c:pt>
                <c:pt idx="159">
                  <c:v>229684</c:v>
                </c:pt>
                <c:pt idx="160">
                  <c:v>230574</c:v>
                </c:pt>
                <c:pt idx="161">
                  <c:v>231415</c:v>
                </c:pt>
                <c:pt idx="162">
                  <c:v>232306</c:v>
                </c:pt>
                <c:pt idx="163">
                  <c:v>232731</c:v>
                </c:pt>
                <c:pt idx="164">
                  <c:v>233137</c:v>
                </c:pt>
                <c:pt idx="165">
                  <c:v>234033</c:v>
                </c:pt>
                <c:pt idx="166">
                  <c:v>235019</c:v>
                </c:pt>
                <c:pt idx="167">
                  <c:v>235945</c:v>
                </c:pt>
                <c:pt idx="168">
                  <c:v>236826</c:v>
                </c:pt>
                <c:pt idx="169">
                  <c:v>237685</c:v>
                </c:pt>
                <c:pt idx="170">
                  <c:v>238215</c:v>
                </c:pt>
                <c:pt idx="171">
                  <c:v>238590</c:v>
                </c:pt>
                <c:pt idx="172">
                  <c:v>239260</c:v>
                </c:pt>
                <c:pt idx="173">
                  <c:v>240024</c:v>
                </c:pt>
                <c:pt idx="174">
                  <c:v>240729</c:v>
                </c:pt>
                <c:pt idx="175">
                  <c:v>241446</c:v>
                </c:pt>
                <c:pt idx="176">
                  <c:v>242123</c:v>
                </c:pt>
                <c:pt idx="177">
                  <c:v>242460</c:v>
                </c:pt>
                <c:pt idx="178">
                  <c:v>242721</c:v>
                </c:pt>
                <c:pt idx="179">
                  <c:v>243236</c:v>
                </c:pt>
                <c:pt idx="180">
                  <c:v>243826</c:v>
                </c:pt>
                <c:pt idx="181">
                  <c:v>244325</c:v>
                </c:pt>
                <c:pt idx="182">
                  <c:v>244828</c:v>
                </c:pt>
                <c:pt idx="183">
                  <c:v>245331</c:v>
                </c:pt>
                <c:pt idx="184">
                  <c:v>245588</c:v>
                </c:pt>
                <c:pt idx="185">
                  <c:v>245781</c:v>
                </c:pt>
                <c:pt idx="186">
                  <c:v>246279</c:v>
                </c:pt>
                <c:pt idx="187">
                  <c:v>246741</c:v>
                </c:pt>
                <c:pt idx="188">
                  <c:v>247224</c:v>
                </c:pt>
                <c:pt idx="189">
                  <c:v>247588</c:v>
                </c:pt>
                <c:pt idx="190">
                  <c:v>248073</c:v>
                </c:pt>
                <c:pt idx="191">
                  <c:v>248171</c:v>
                </c:pt>
                <c:pt idx="192">
                  <c:v>248289</c:v>
                </c:pt>
                <c:pt idx="193">
                  <c:v>248402</c:v>
                </c:pt>
                <c:pt idx="194">
                  <c:v>248503</c:v>
                </c:pt>
                <c:pt idx="195">
                  <c:v>248916</c:v>
                </c:pt>
                <c:pt idx="196">
                  <c:v>249367</c:v>
                </c:pt>
                <c:pt idx="197">
                  <c:v>249813</c:v>
                </c:pt>
                <c:pt idx="198">
                  <c:v>249981</c:v>
                </c:pt>
                <c:pt idx="199">
                  <c:v>250102</c:v>
                </c:pt>
                <c:pt idx="200">
                  <c:v>250548</c:v>
                </c:pt>
                <c:pt idx="201">
                  <c:v>250996</c:v>
                </c:pt>
                <c:pt idx="202">
                  <c:v>251486</c:v>
                </c:pt>
                <c:pt idx="203">
                  <c:v>251986</c:v>
                </c:pt>
                <c:pt idx="204">
                  <c:v>252475</c:v>
                </c:pt>
                <c:pt idx="205">
                  <c:v>252657</c:v>
                </c:pt>
                <c:pt idx="206">
                  <c:v>252803</c:v>
                </c:pt>
                <c:pt idx="207">
                  <c:v>253226</c:v>
                </c:pt>
                <c:pt idx="208">
                  <c:v>253581</c:v>
                </c:pt>
                <c:pt idx="209">
                  <c:v>254051</c:v>
                </c:pt>
                <c:pt idx="210">
                  <c:v>254446</c:v>
                </c:pt>
                <c:pt idx="211">
                  <c:v>254839</c:v>
                </c:pt>
                <c:pt idx="212">
                  <c:v>254950</c:v>
                </c:pt>
                <c:pt idx="213">
                  <c:v>255040</c:v>
                </c:pt>
                <c:pt idx="214">
                  <c:v>255431</c:v>
                </c:pt>
                <c:pt idx="215">
                  <c:v>255851</c:v>
                </c:pt>
                <c:pt idx="216">
                  <c:v>256214</c:v>
                </c:pt>
                <c:pt idx="217">
                  <c:v>256551</c:v>
                </c:pt>
                <c:pt idx="218">
                  <c:v>256971</c:v>
                </c:pt>
                <c:pt idx="219">
                  <c:v>257093</c:v>
                </c:pt>
                <c:pt idx="220">
                  <c:v>257196</c:v>
                </c:pt>
                <c:pt idx="221">
                  <c:v>257479</c:v>
                </c:pt>
                <c:pt idx="222">
                  <c:v>257747</c:v>
                </c:pt>
                <c:pt idx="223">
                  <c:v>258061</c:v>
                </c:pt>
                <c:pt idx="224">
                  <c:v>258328</c:v>
                </c:pt>
                <c:pt idx="225">
                  <c:v>258609</c:v>
                </c:pt>
                <c:pt idx="226">
                  <c:v>258682</c:v>
                </c:pt>
                <c:pt idx="227">
                  <c:v>258746</c:v>
                </c:pt>
                <c:pt idx="228">
                  <c:v>258957</c:v>
                </c:pt>
                <c:pt idx="229">
                  <c:v>259167</c:v>
                </c:pt>
                <c:pt idx="230">
                  <c:v>259330</c:v>
                </c:pt>
                <c:pt idx="231">
                  <c:v>259564</c:v>
                </c:pt>
                <c:pt idx="232">
                  <c:v>259756</c:v>
                </c:pt>
                <c:pt idx="233">
                  <c:v>259813</c:v>
                </c:pt>
                <c:pt idx="234">
                  <c:v>259859</c:v>
                </c:pt>
                <c:pt idx="235">
                  <c:v>260040</c:v>
                </c:pt>
                <c:pt idx="236">
                  <c:v>260222</c:v>
                </c:pt>
                <c:pt idx="237">
                  <c:v>260390</c:v>
                </c:pt>
                <c:pt idx="238">
                  <c:v>260554</c:v>
                </c:pt>
                <c:pt idx="239">
                  <c:v>260800</c:v>
                </c:pt>
                <c:pt idx="240">
                  <c:v>260842</c:v>
                </c:pt>
                <c:pt idx="241">
                  <c:v>260875</c:v>
                </c:pt>
                <c:pt idx="242">
                  <c:v>261077</c:v>
                </c:pt>
                <c:pt idx="243">
                  <c:v>261269</c:v>
                </c:pt>
                <c:pt idx="244">
                  <c:v>261436</c:v>
                </c:pt>
                <c:pt idx="245">
                  <c:v>261598</c:v>
                </c:pt>
                <c:pt idx="246">
                  <c:v>261817</c:v>
                </c:pt>
                <c:pt idx="247">
                  <c:v>261861</c:v>
                </c:pt>
                <c:pt idx="248">
                  <c:v>261894</c:v>
                </c:pt>
                <c:pt idx="249">
                  <c:v>262067</c:v>
                </c:pt>
                <c:pt idx="250">
                  <c:v>262232</c:v>
                </c:pt>
                <c:pt idx="251">
                  <c:v>262358</c:v>
                </c:pt>
                <c:pt idx="252">
                  <c:v>262533</c:v>
                </c:pt>
                <c:pt idx="253">
                  <c:v>262728</c:v>
                </c:pt>
                <c:pt idx="254">
                  <c:v>262763</c:v>
                </c:pt>
                <c:pt idx="255">
                  <c:v>262796</c:v>
                </c:pt>
                <c:pt idx="256">
                  <c:v>262932</c:v>
                </c:pt>
                <c:pt idx="257">
                  <c:v>263022</c:v>
                </c:pt>
                <c:pt idx="258">
                  <c:v>263145</c:v>
                </c:pt>
                <c:pt idx="259">
                  <c:v>263288</c:v>
                </c:pt>
                <c:pt idx="260">
                  <c:v>263434</c:v>
                </c:pt>
                <c:pt idx="261">
                  <c:v>263469</c:v>
                </c:pt>
                <c:pt idx="262">
                  <c:v>263492</c:v>
                </c:pt>
                <c:pt idx="263">
                  <c:v>263603</c:v>
                </c:pt>
                <c:pt idx="264">
                  <c:v>263735</c:v>
                </c:pt>
                <c:pt idx="265">
                  <c:v>263842</c:v>
                </c:pt>
                <c:pt idx="266">
                  <c:v>263963</c:v>
                </c:pt>
                <c:pt idx="267">
                  <c:v>264127</c:v>
                </c:pt>
                <c:pt idx="268">
                  <c:v>264168</c:v>
                </c:pt>
                <c:pt idx="269">
                  <c:v>264181</c:v>
                </c:pt>
                <c:pt idx="270">
                  <c:v>264283</c:v>
                </c:pt>
                <c:pt idx="271">
                  <c:v>264387</c:v>
                </c:pt>
                <c:pt idx="272">
                  <c:v>264484</c:v>
                </c:pt>
                <c:pt idx="273">
                  <c:v>264618</c:v>
                </c:pt>
                <c:pt idx="274">
                  <c:v>264784</c:v>
                </c:pt>
                <c:pt idx="275">
                  <c:v>264816</c:v>
                </c:pt>
                <c:pt idx="276">
                  <c:v>264826</c:v>
                </c:pt>
                <c:pt idx="277">
                  <c:v>264923</c:v>
                </c:pt>
                <c:pt idx="278">
                  <c:v>264931</c:v>
                </c:pt>
                <c:pt idx="279">
                  <c:v>265016</c:v>
                </c:pt>
                <c:pt idx="280">
                  <c:v>265116</c:v>
                </c:pt>
                <c:pt idx="281">
                  <c:v>265208</c:v>
                </c:pt>
                <c:pt idx="282">
                  <c:v>265229</c:v>
                </c:pt>
                <c:pt idx="283">
                  <c:v>265243</c:v>
                </c:pt>
                <c:pt idx="284">
                  <c:v>265310</c:v>
                </c:pt>
                <c:pt idx="285">
                  <c:v>265393</c:v>
                </c:pt>
                <c:pt idx="286">
                  <c:v>265492</c:v>
                </c:pt>
                <c:pt idx="287">
                  <c:v>265562</c:v>
                </c:pt>
                <c:pt idx="288">
                  <c:v>265674</c:v>
                </c:pt>
                <c:pt idx="289">
                  <c:v>265699</c:v>
                </c:pt>
                <c:pt idx="290">
                  <c:v>265711</c:v>
                </c:pt>
                <c:pt idx="291">
                  <c:v>265787</c:v>
                </c:pt>
                <c:pt idx="292">
                  <c:v>265872</c:v>
                </c:pt>
                <c:pt idx="293">
                  <c:v>265953</c:v>
                </c:pt>
                <c:pt idx="294">
                  <c:v>266022</c:v>
                </c:pt>
                <c:pt idx="295">
                  <c:v>266143</c:v>
                </c:pt>
                <c:pt idx="296">
                  <c:v>266174</c:v>
                </c:pt>
                <c:pt idx="297">
                  <c:v>266204</c:v>
                </c:pt>
                <c:pt idx="298">
                  <c:v>266335</c:v>
                </c:pt>
                <c:pt idx="299">
                  <c:v>266430</c:v>
                </c:pt>
                <c:pt idx="300">
                  <c:v>266561</c:v>
                </c:pt>
                <c:pt idx="301">
                  <c:v>266800</c:v>
                </c:pt>
                <c:pt idx="302">
                  <c:v>267107</c:v>
                </c:pt>
                <c:pt idx="303">
                  <c:v>267190</c:v>
                </c:pt>
                <c:pt idx="304">
                  <c:v>267254</c:v>
                </c:pt>
                <c:pt idx="305">
                  <c:v>267516</c:v>
                </c:pt>
                <c:pt idx="306">
                  <c:v>267878</c:v>
                </c:pt>
                <c:pt idx="307">
                  <c:v>268297</c:v>
                </c:pt>
                <c:pt idx="308">
                  <c:v>268381</c:v>
                </c:pt>
                <c:pt idx="309">
                  <c:v>268760</c:v>
                </c:pt>
                <c:pt idx="310">
                  <c:v>268868</c:v>
                </c:pt>
                <c:pt idx="311">
                  <c:v>268938</c:v>
                </c:pt>
                <c:pt idx="312">
                  <c:v>269354</c:v>
                </c:pt>
                <c:pt idx="313">
                  <c:v>269772</c:v>
                </c:pt>
                <c:pt idx="314">
                  <c:v>270190</c:v>
                </c:pt>
                <c:pt idx="315">
                  <c:v>270689</c:v>
                </c:pt>
                <c:pt idx="316">
                  <c:v>271252</c:v>
                </c:pt>
                <c:pt idx="317">
                  <c:v>271407</c:v>
                </c:pt>
                <c:pt idx="318">
                  <c:v>271501</c:v>
                </c:pt>
                <c:pt idx="319">
                  <c:v>271900</c:v>
                </c:pt>
                <c:pt idx="320">
                  <c:v>272240</c:v>
                </c:pt>
                <c:pt idx="321">
                  <c:v>272625</c:v>
                </c:pt>
                <c:pt idx="322">
                  <c:v>273024</c:v>
                </c:pt>
                <c:pt idx="323">
                  <c:v>273559</c:v>
                </c:pt>
                <c:pt idx="324">
                  <c:v>273683</c:v>
                </c:pt>
                <c:pt idx="325">
                  <c:v>273769</c:v>
                </c:pt>
                <c:pt idx="326">
                  <c:v>274189</c:v>
                </c:pt>
                <c:pt idx="327">
                  <c:v>274658</c:v>
                </c:pt>
                <c:pt idx="328">
                  <c:v>274762</c:v>
                </c:pt>
                <c:pt idx="329">
                  <c:v>275271</c:v>
                </c:pt>
                <c:pt idx="330">
                  <c:v>275894</c:v>
                </c:pt>
                <c:pt idx="331">
                  <c:v>276090</c:v>
                </c:pt>
                <c:pt idx="332">
                  <c:v>276232</c:v>
                </c:pt>
                <c:pt idx="333">
                  <c:v>276653</c:v>
                </c:pt>
                <c:pt idx="334">
                  <c:v>277074</c:v>
                </c:pt>
                <c:pt idx="335">
                  <c:v>277535</c:v>
                </c:pt>
                <c:pt idx="336">
                  <c:v>278012</c:v>
                </c:pt>
                <c:pt idx="337">
                  <c:v>278529</c:v>
                </c:pt>
                <c:pt idx="338">
                  <c:v>278679</c:v>
                </c:pt>
                <c:pt idx="339">
                  <c:v>278730</c:v>
                </c:pt>
                <c:pt idx="340">
                  <c:v>279080</c:v>
                </c:pt>
                <c:pt idx="341">
                  <c:v>279414</c:v>
                </c:pt>
                <c:pt idx="342">
                  <c:v>279763</c:v>
                </c:pt>
                <c:pt idx="343">
                  <c:v>280017</c:v>
                </c:pt>
                <c:pt idx="344">
                  <c:v>280281</c:v>
                </c:pt>
                <c:pt idx="345">
                  <c:v>280334</c:v>
                </c:pt>
                <c:pt idx="346">
                  <c:v>280354</c:v>
                </c:pt>
                <c:pt idx="347">
                  <c:v>280544</c:v>
                </c:pt>
                <c:pt idx="348">
                  <c:v>280724</c:v>
                </c:pt>
                <c:pt idx="349">
                  <c:v>280933</c:v>
                </c:pt>
                <c:pt idx="350">
                  <c:v>281101</c:v>
                </c:pt>
                <c:pt idx="351">
                  <c:v>281289</c:v>
                </c:pt>
                <c:pt idx="352">
                  <c:v>281325</c:v>
                </c:pt>
                <c:pt idx="353">
                  <c:v>281351</c:v>
                </c:pt>
                <c:pt idx="354">
                  <c:v>281526</c:v>
                </c:pt>
                <c:pt idx="355">
                  <c:v>281672</c:v>
                </c:pt>
                <c:pt idx="356">
                  <c:v>281810</c:v>
                </c:pt>
                <c:pt idx="357">
                  <c:v>281982</c:v>
                </c:pt>
                <c:pt idx="358">
                  <c:v>282173</c:v>
                </c:pt>
                <c:pt idx="359">
                  <c:v>282228</c:v>
                </c:pt>
                <c:pt idx="360">
                  <c:v>282243</c:v>
                </c:pt>
                <c:pt idx="361">
                  <c:v>282366</c:v>
                </c:pt>
                <c:pt idx="362">
                  <c:v>282471</c:v>
                </c:pt>
                <c:pt idx="363">
                  <c:v>282562</c:v>
                </c:pt>
                <c:pt idx="364">
                  <c:v>282594</c:v>
                </c:pt>
                <c:pt idx="365">
                  <c:v>282595</c:v>
                </c:pt>
                <c:pt idx="366">
                  <c:v>282657</c:v>
                </c:pt>
                <c:pt idx="367">
                  <c:v>282727</c:v>
                </c:pt>
                <c:pt idx="368">
                  <c:v>282795</c:v>
                </c:pt>
                <c:pt idx="369">
                  <c:v>282868</c:v>
                </c:pt>
                <c:pt idx="370">
                  <c:v>282876</c:v>
                </c:pt>
                <c:pt idx="371">
                  <c:v>282883</c:v>
                </c:pt>
                <c:pt idx="372">
                  <c:v>282965</c:v>
                </c:pt>
                <c:pt idx="373">
                  <c:v>283044</c:v>
                </c:pt>
                <c:pt idx="374">
                  <c:v>283147</c:v>
                </c:pt>
                <c:pt idx="375">
                  <c:v>283262</c:v>
                </c:pt>
                <c:pt idx="376">
                  <c:v>283439</c:v>
                </c:pt>
                <c:pt idx="377">
                  <c:v>283461</c:v>
                </c:pt>
                <c:pt idx="378">
                  <c:v>283479</c:v>
                </c:pt>
                <c:pt idx="379">
                  <c:v>283565</c:v>
                </c:pt>
                <c:pt idx="380">
                  <c:v>283660</c:v>
                </c:pt>
                <c:pt idx="381">
                  <c:v>283767</c:v>
                </c:pt>
                <c:pt idx="382">
                  <c:v>283886</c:v>
                </c:pt>
                <c:pt idx="383">
                  <c:v>284042</c:v>
                </c:pt>
                <c:pt idx="384">
                  <c:v>284079</c:v>
                </c:pt>
                <c:pt idx="385">
                  <c:v>284095</c:v>
                </c:pt>
                <c:pt idx="386">
                  <c:v>284188</c:v>
                </c:pt>
                <c:pt idx="387">
                  <c:v>284293</c:v>
                </c:pt>
                <c:pt idx="388">
                  <c:v>284362</c:v>
                </c:pt>
                <c:pt idx="389">
                  <c:v>284424</c:v>
                </c:pt>
                <c:pt idx="390">
                  <c:v>284520</c:v>
                </c:pt>
                <c:pt idx="391">
                  <c:v>284528</c:v>
                </c:pt>
                <c:pt idx="392">
                  <c:v>284536</c:v>
                </c:pt>
                <c:pt idx="393">
                  <c:v>284576</c:v>
                </c:pt>
                <c:pt idx="394">
                  <c:v>284617</c:v>
                </c:pt>
                <c:pt idx="395">
                  <c:v>284661</c:v>
                </c:pt>
                <c:pt idx="396">
                  <c:v>284698</c:v>
                </c:pt>
                <c:pt idx="397">
                  <c:v>284761</c:v>
                </c:pt>
                <c:pt idx="398">
                  <c:v>284775</c:v>
                </c:pt>
                <c:pt idx="399">
                  <c:v>284778</c:v>
                </c:pt>
                <c:pt idx="400">
                  <c:v>284802</c:v>
                </c:pt>
                <c:pt idx="401">
                  <c:v>284822</c:v>
                </c:pt>
                <c:pt idx="402">
                  <c:v>284846</c:v>
                </c:pt>
                <c:pt idx="403">
                  <c:v>284867</c:v>
                </c:pt>
                <c:pt idx="404">
                  <c:v>284899</c:v>
                </c:pt>
                <c:pt idx="405">
                  <c:v>284901</c:v>
                </c:pt>
                <c:pt idx="406">
                  <c:v>284902</c:v>
                </c:pt>
                <c:pt idx="407">
                  <c:v>284916</c:v>
                </c:pt>
                <c:pt idx="408">
                  <c:v>284928</c:v>
                </c:pt>
                <c:pt idx="409">
                  <c:v>284938</c:v>
                </c:pt>
                <c:pt idx="410">
                  <c:v>284952</c:v>
                </c:pt>
                <c:pt idx="411">
                  <c:v>284976</c:v>
                </c:pt>
                <c:pt idx="412">
                  <c:v>284977</c:v>
                </c:pt>
                <c:pt idx="413">
                  <c:v>284983</c:v>
                </c:pt>
                <c:pt idx="414">
                  <c:v>284993</c:v>
                </c:pt>
                <c:pt idx="415">
                  <c:v>285000</c:v>
                </c:pt>
                <c:pt idx="416">
                  <c:v>285005</c:v>
                </c:pt>
                <c:pt idx="417">
                  <c:v>285009</c:v>
                </c:pt>
                <c:pt idx="418">
                  <c:v>285011</c:v>
                </c:pt>
                <c:pt idx="419">
                  <c:v>285018</c:v>
                </c:pt>
                <c:pt idx="420">
                  <c:v>285020</c:v>
                </c:pt>
                <c:pt idx="421">
                  <c:v>285023</c:v>
                </c:pt>
                <c:pt idx="422">
                  <c:v>285027</c:v>
                </c:pt>
                <c:pt idx="423">
                  <c:v>285035</c:v>
                </c:pt>
                <c:pt idx="424">
                  <c:v>285037</c:v>
                </c:pt>
                <c:pt idx="425">
                  <c:v>285044</c:v>
                </c:pt>
                <c:pt idx="426">
                  <c:v>285047</c:v>
                </c:pt>
                <c:pt idx="427">
                  <c:v>285050</c:v>
                </c:pt>
                <c:pt idx="428">
                  <c:v>285075</c:v>
                </c:pt>
                <c:pt idx="429">
                  <c:v>285078</c:v>
                </c:pt>
                <c:pt idx="430">
                  <c:v>285081</c:v>
                </c:pt>
                <c:pt idx="431">
                  <c:v>285087</c:v>
                </c:pt>
                <c:pt idx="432">
                  <c:v>285101</c:v>
                </c:pt>
                <c:pt idx="433">
                  <c:v>285112</c:v>
                </c:pt>
                <c:pt idx="434">
                  <c:v>285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F$1:$PX$1</c:f>
              <c:strCache>
                <c:ptCount val="435"/>
                <c:pt idx="0">
                  <c:v>24-XII.20</c:v>
                </c:pt>
                <c:pt idx="1">
                  <c:v>25-XII.20</c:v>
                </c:pt>
                <c:pt idx="2">
                  <c:v>26-XII.20</c:v>
                </c:pt>
                <c:pt idx="3">
                  <c:v>27.XII.20</c:v>
                </c:pt>
                <c:pt idx="4">
                  <c:v>28.XII.20</c:v>
                </c:pt>
                <c:pt idx="5">
                  <c:v>29.XII.20</c:v>
                </c:pt>
                <c:pt idx="6">
                  <c:v>30.XII.20</c:v>
                </c:pt>
                <c:pt idx="7">
                  <c:v>31.XII.20</c:v>
                </c:pt>
                <c:pt idx="8">
                  <c:v>1.I.21</c:v>
                </c:pt>
                <c:pt idx="9">
                  <c:v>2.I.21</c:v>
                </c:pt>
                <c:pt idx="10">
                  <c:v>3.I.21</c:v>
                </c:pt>
                <c:pt idx="11">
                  <c:v>4.I.21</c:v>
                </c:pt>
                <c:pt idx="12">
                  <c:v>5.I.21</c:v>
                </c:pt>
                <c:pt idx="13">
                  <c:v>6.I.21</c:v>
                </c:pt>
                <c:pt idx="14">
                  <c:v>7.I.21</c:v>
                </c:pt>
                <c:pt idx="15">
                  <c:v>8.I.21</c:v>
                </c:pt>
                <c:pt idx="16">
                  <c:v>9.I.21</c:v>
                </c:pt>
                <c:pt idx="17">
                  <c:v>10.I.21</c:v>
                </c:pt>
                <c:pt idx="18">
                  <c:v>11.I.21</c:v>
                </c:pt>
                <c:pt idx="19">
                  <c:v>12.I.21</c:v>
                </c:pt>
                <c:pt idx="20">
                  <c:v>13.I.21</c:v>
                </c:pt>
                <c:pt idx="21">
                  <c:v>14.I.21</c:v>
                </c:pt>
                <c:pt idx="22">
                  <c:v>15.I.21</c:v>
                </c:pt>
                <c:pt idx="23">
                  <c:v>16.I.21</c:v>
                </c:pt>
                <c:pt idx="24">
                  <c:v>17.I.21</c:v>
                </c:pt>
                <c:pt idx="25">
                  <c:v>18.I.21</c:v>
                </c:pt>
                <c:pt idx="26">
                  <c:v>19.I.21</c:v>
                </c:pt>
                <c:pt idx="27">
                  <c:v>20.I.21</c:v>
                </c:pt>
                <c:pt idx="28">
                  <c:v>21.I.21</c:v>
                </c:pt>
                <c:pt idx="29">
                  <c:v>22.I.21</c:v>
                </c:pt>
                <c:pt idx="30">
                  <c:v>23.I.21</c:v>
                </c:pt>
                <c:pt idx="31">
                  <c:v>24.I.21</c:v>
                </c:pt>
                <c:pt idx="32">
                  <c:v>25.I.21</c:v>
                </c:pt>
                <c:pt idx="33">
                  <c:v>26.I.21</c:v>
                </c:pt>
                <c:pt idx="34">
                  <c:v>27.I.21</c:v>
                </c:pt>
                <c:pt idx="35">
                  <c:v>28.I.21</c:v>
                </c:pt>
                <c:pt idx="36">
                  <c:v>29.I.21</c:v>
                </c:pt>
                <c:pt idx="37">
                  <c:v>30.I.21</c:v>
                </c:pt>
                <c:pt idx="38">
                  <c:v>31.I.21</c:v>
                </c:pt>
                <c:pt idx="39">
                  <c:v>1.II.21</c:v>
                </c:pt>
                <c:pt idx="40">
                  <c:v>2.II.21</c:v>
                </c:pt>
                <c:pt idx="41">
                  <c:v>3.II.21</c:v>
                </c:pt>
                <c:pt idx="42">
                  <c:v>4.II.21</c:v>
                </c:pt>
                <c:pt idx="43">
                  <c:v>5.II.21</c:v>
                </c:pt>
                <c:pt idx="44">
                  <c:v>6.II.21</c:v>
                </c:pt>
                <c:pt idx="45">
                  <c:v>7.II.21</c:v>
                </c:pt>
                <c:pt idx="46">
                  <c:v>8.II.21</c:v>
                </c:pt>
                <c:pt idx="47">
                  <c:v>9.II.21</c:v>
                </c:pt>
                <c:pt idx="48">
                  <c:v>10.II.21</c:v>
                </c:pt>
                <c:pt idx="49">
                  <c:v>11.II.21</c:v>
                </c:pt>
                <c:pt idx="50">
                  <c:v>12.II.21</c:v>
                </c:pt>
                <c:pt idx="51">
                  <c:v>13.II.21</c:v>
                </c:pt>
                <c:pt idx="52">
                  <c:v>14.II.21</c:v>
                </c:pt>
                <c:pt idx="53">
                  <c:v>15.II.21</c:v>
                </c:pt>
                <c:pt idx="54">
                  <c:v>16.II.21</c:v>
                </c:pt>
                <c:pt idx="55">
                  <c:v>17.II.21</c:v>
                </c:pt>
                <c:pt idx="56">
                  <c:v>18.II.21</c:v>
                </c:pt>
                <c:pt idx="57">
                  <c:v>19.II.21</c:v>
                </c:pt>
                <c:pt idx="58">
                  <c:v>20.II.21</c:v>
                </c:pt>
                <c:pt idx="59">
                  <c:v>21.II.21</c:v>
                </c:pt>
                <c:pt idx="60">
                  <c:v>22.II.21</c:v>
                </c:pt>
                <c:pt idx="61">
                  <c:v>23.II.21</c:v>
                </c:pt>
                <c:pt idx="62">
                  <c:v>24.II.21</c:v>
                </c:pt>
                <c:pt idx="63">
                  <c:v>25.II.21</c:v>
                </c:pt>
                <c:pt idx="64">
                  <c:v>26.II.21</c:v>
                </c:pt>
                <c:pt idx="65">
                  <c:v>27.II.21</c:v>
                </c:pt>
                <c:pt idx="66">
                  <c:v>28.II.21</c:v>
                </c:pt>
                <c:pt idx="67">
                  <c:v>1.III.21</c:v>
                </c:pt>
                <c:pt idx="68">
                  <c:v>2.III.21</c:v>
                </c:pt>
                <c:pt idx="69">
                  <c:v>3.III.21</c:v>
                </c:pt>
                <c:pt idx="70">
                  <c:v>4.III.21</c:v>
                </c:pt>
                <c:pt idx="71">
                  <c:v>5.III.21</c:v>
                </c:pt>
                <c:pt idx="72">
                  <c:v>6.III.21</c:v>
                </c:pt>
                <c:pt idx="73">
                  <c:v>7.III.21</c:v>
                </c:pt>
                <c:pt idx="74">
                  <c:v>8.III.21</c:v>
                </c:pt>
                <c:pt idx="75">
                  <c:v>9.III.21</c:v>
                </c:pt>
                <c:pt idx="76">
                  <c:v>10.III.21</c:v>
                </c:pt>
                <c:pt idx="77">
                  <c:v>11.III.21</c:v>
                </c:pt>
                <c:pt idx="78">
                  <c:v>12.III.21</c:v>
                </c:pt>
                <c:pt idx="79">
                  <c:v>13.III.21</c:v>
                </c:pt>
                <c:pt idx="80">
                  <c:v>14.III.21</c:v>
                </c:pt>
                <c:pt idx="81">
                  <c:v>15.III.21</c:v>
                </c:pt>
                <c:pt idx="82">
                  <c:v>16.III.21</c:v>
                </c:pt>
                <c:pt idx="83">
                  <c:v>17.III.21</c:v>
                </c:pt>
                <c:pt idx="84">
                  <c:v>18.III.21</c:v>
                </c:pt>
                <c:pt idx="85">
                  <c:v>19.III.21</c:v>
                </c:pt>
                <c:pt idx="86">
                  <c:v>20.III.21</c:v>
                </c:pt>
                <c:pt idx="87">
                  <c:v>21.III.21</c:v>
                </c:pt>
                <c:pt idx="88">
                  <c:v>22.III.21</c:v>
                </c:pt>
                <c:pt idx="89">
                  <c:v>23.III.21</c:v>
                </c:pt>
                <c:pt idx="90">
                  <c:v>24.III.21</c:v>
                </c:pt>
                <c:pt idx="91">
                  <c:v>25.III.21</c:v>
                </c:pt>
                <c:pt idx="92">
                  <c:v>26.III.21</c:v>
                </c:pt>
                <c:pt idx="93">
                  <c:v>27.III.21</c:v>
                </c:pt>
                <c:pt idx="94">
                  <c:v>28.III.21</c:v>
                </c:pt>
                <c:pt idx="95">
                  <c:v>29.III.21</c:v>
                </c:pt>
                <c:pt idx="96">
                  <c:v>30.III.21</c:v>
                </c:pt>
                <c:pt idx="97">
                  <c:v>31.III.21</c:v>
                </c:pt>
                <c:pt idx="98">
                  <c:v>1.IV.21</c:v>
                </c:pt>
                <c:pt idx="99">
                  <c:v>2.IV.21</c:v>
                </c:pt>
                <c:pt idx="100">
                  <c:v>3.IV.21</c:v>
                </c:pt>
                <c:pt idx="101">
                  <c:v>4.IV.21</c:v>
                </c:pt>
                <c:pt idx="102">
                  <c:v>5.IV.21</c:v>
                </c:pt>
                <c:pt idx="103">
                  <c:v>6.IV.21</c:v>
                </c:pt>
                <c:pt idx="104">
                  <c:v>7.IV.21</c:v>
                </c:pt>
                <c:pt idx="105">
                  <c:v>8.IV.21</c:v>
                </c:pt>
                <c:pt idx="106">
                  <c:v>9.IV.21</c:v>
                </c:pt>
                <c:pt idx="107">
                  <c:v>10.IV.21</c:v>
                </c:pt>
                <c:pt idx="108">
                  <c:v>11.IV.21</c:v>
                </c:pt>
                <c:pt idx="109">
                  <c:v>12.IV.21</c:v>
                </c:pt>
                <c:pt idx="110">
                  <c:v>13.IV.21</c:v>
                </c:pt>
                <c:pt idx="111">
                  <c:v>14.IV.21</c:v>
                </c:pt>
                <c:pt idx="112">
                  <c:v>15.IV.21</c:v>
                </c:pt>
                <c:pt idx="113">
                  <c:v>16.IV.21</c:v>
                </c:pt>
                <c:pt idx="114">
                  <c:v>17.IV.21</c:v>
                </c:pt>
                <c:pt idx="115">
                  <c:v>18.IV.21</c:v>
                </c:pt>
                <c:pt idx="116">
                  <c:v>19.IV.21</c:v>
                </c:pt>
                <c:pt idx="117">
                  <c:v>20.IV.21</c:v>
                </c:pt>
                <c:pt idx="118">
                  <c:v>21.IV.21</c:v>
                </c:pt>
                <c:pt idx="119">
                  <c:v>22.IV.21</c:v>
                </c:pt>
                <c:pt idx="120">
                  <c:v>23.IV.21</c:v>
                </c:pt>
                <c:pt idx="121">
                  <c:v>24.IV.21</c:v>
                </c:pt>
                <c:pt idx="122">
                  <c:v>25.IV.21</c:v>
                </c:pt>
                <c:pt idx="123">
                  <c:v>26.IV.21</c:v>
                </c:pt>
                <c:pt idx="124">
                  <c:v>27.IV.21</c:v>
                </c:pt>
                <c:pt idx="125">
                  <c:v>28.IV.21</c:v>
                </c:pt>
                <c:pt idx="126">
                  <c:v>29.IV.21</c:v>
                </c:pt>
                <c:pt idx="127">
                  <c:v>30.IV.21</c:v>
                </c:pt>
                <c:pt idx="128">
                  <c:v>1.V.21</c:v>
                </c:pt>
                <c:pt idx="129">
                  <c:v>2.V.21</c:v>
                </c:pt>
                <c:pt idx="130">
                  <c:v>3.V.21</c:v>
                </c:pt>
                <c:pt idx="131">
                  <c:v>4.V.21</c:v>
                </c:pt>
                <c:pt idx="132">
                  <c:v>5.V.21</c:v>
                </c:pt>
                <c:pt idx="133">
                  <c:v>6.V.21</c:v>
                </c:pt>
                <c:pt idx="134">
                  <c:v>7.V.21</c:v>
                </c:pt>
                <c:pt idx="135">
                  <c:v>8.V.21</c:v>
                </c:pt>
                <c:pt idx="136">
                  <c:v>9.V.21</c:v>
                </c:pt>
                <c:pt idx="137">
                  <c:v>10.V.21</c:v>
                </c:pt>
                <c:pt idx="138">
                  <c:v>11.V.21</c:v>
                </c:pt>
                <c:pt idx="139">
                  <c:v>12.V.21</c:v>
                </c:pt>
                <c:pt idx="140">
                  <c:v>13.V.21</c:v>
                </c:pt>
                <c:pt idx="141">
                  <c:v>14.V.21</c:v>
                </c:pt>
                <c:pt idx="142">
                  <c:v>15.V.21</c:v>
                </c:pt>
                <c:pt idx="143">
                  <c:v>16.V.21</c:v>
                </c:pt>
                <c:pt idx="144">
                  <c:v>17.V.21</c:v>
                </c:pt>
                <c:pt idx="145">
                  <c:v>18.V.21</c:v>
                </c:pt>
                <c:pt idx="146">
                  <c:v>19.V.21</c:v>
                </c:pt>
                <c:pt idx="147">
                  <c:v>20.V.21</c:v>
                </c:pt>
                <c:pt idx="148">
                  <c:v>21.V.21</c:v>
                </c:pt>
                <c:pt idx="149">
                  <c:v>22.V.21</c:v>
                </c:pt>
                <c:pt idx="150">
                  <c:v>23.V.21</c:v>
                </c:pt>
                <c:pt idx="151">
                  <c:v>24.V.21</c:v>
                </c:pt>
                <c:pt idx="152">
                  <c:v>25.V.21</c:v>
                </c:pt>
                <c:pt idx="153">
                  <c:v>26.V.21</c:v>
                </c:pt>
                <c:pt idx="154">
                  <c:v>27.V.21</c:v>
                </c:pt>
                <c:pt idx="155">
                  <c:v>28.V.21</c:v>
                </c:pt>
                <c:pt idx="156">
                  <c:v>29.V.21</c:v>
                </c:pt>
                <c:pt idx="157">
                  <c:v>30.V.21</c:v>
                </c:pt>
                <c:pt idx="158">
                  <c:v>31.V.21</c:v>
                </c:pt>
                <c:pt idx="159">
                  <c:v>1.VI.21</c:v>
                </c:pt>
                <c:pt idx="160">
                  <c:v>2.VI.21</c:v>
                </c:pt>
                <c:pt idx="161">
                  <c:v>3.VI.21</c:v>
                </c:pt>
                <c:pt idx="162">
                  <c:v>4.VI.21</c:v>
                </c:pt>
                <c:pt idx="163">
                  <c:v>5.VI.21</c:v>
                </c:pt>
                <c:pt idx="164">
                  <c:v>6.VI.21</c:v>
                </c:pt>
                <c:pt idx="165">
                  <c:v>7.VI.21</c:v>
                </c:pt>
                <c:pt idx="166">
                  <c:v>8.VI.21</c:v>
                </c:pt>
                <c:pt idx="167">
                  <c:v>9.VI.21</c:v>
                </c:pt>
                <c:pt idx="168">
                  <c:v>10.VI.21</c:v>
                </c:pt>
                <c:pt idx="169">
                  <c:v>11.VI.21</c:v>
                </c:pt>
                <c:pt idx="170">
                  <c:v>12.VI.21</c:v>
                </c:pt>
                <c:pt idx="171">
                  <c:v>13.VI.21</c:v>
                </c:pt>
                <c:pt idx="172">
                  <c:v>14.VI.21</c:v>
                </c:pt>
                <c:pt idx="173">
                  <c:v>15.VI.21</c:v>
                </c:pt>
                <c:pt idx="174">
                  <c:v>16.VI.21</c:v>
                </c:pt>
                <c:pt idx="175">
                  <c:v>17.VI.21</c:v>
                </c:pt>
                <c:pt idx="176">
                  <c:v>18.VI.21</c:v>
                </c:pt>
                <c:pt idx="177">
                  <c:v>19.VI.21</c:v>
                </c:pt>
                <c:pt idx="178">
                  <c:v>20.VI.21</c:v>
                </c:pt>
                <c:pt idx="179">
                  <c:v>21.VI.21</c:v>
                </c:pt>
                <c:pt idx="180">
                  <c:v>22.VI.21</c:v>
                </c:pt>
                <c:pt idx="181">
                  <c:v>23.VI.21</c:v>
                </c:pt>
                <c:pt idx="182">
                  <c:v>24.VI.21</c:v>
                </c:pt>
                <c:pt idx="183">
                  <c:v>25.VI.21</c:v>
                </c:pt>
                <c:pt idx="184">
                  <c:v>26.VI.21</c:v>
                </c:pt>
                <c:pt idx="185">
                  <c:v>27.VI.21</c:v>
                </c:pt>
                <c:pt idx="186">
                  <c:v>28.VI.21</c:v>
                </c:pt>
                <c:pt idx="187">
                  <c:v>29.VI.21</c:v>
                </c:pt>
                <c:pt idx="188">
                  <c:v>30.VI.21</c:v>
                </c:pt>
                <c:pt idx="189">
                  <c:v>1.VII.21</c:v>
                </c:pt>
                <c:pt idx="190">
                  <c:v>2.VII.21</c:v>
                </c:pt>
                <c:pt idx="191">
                  <c:v>3.VII.21</c:v>
                </c:pt>
                <c:pt idx="192">
                  <c:v>4.VII.21</c:v>
                </c:pt>
                <c:pt idx="193">
                  <c:v>5.VII.21</c:v>
                </c:pt>
                <c:pt idx="194">
                  <c:v>6.VII.21</c:v>
                </c:pt>
                <c:pt idx="195">
                  <c:v>7.VII.21</c:v>
                </c:pt>
                <c:pt idx="196">
                  <c:v>8.VII.21</c:v>
                </c:pt>
                <c:pt idx="197">
                  <c:v>9.VII.21</c:v>
                </c:pt>
                <c:pt idx="198">
                  <c:v>10.VII.21</c:v>
                </c:pt>
                <c:pt idx="199">
                  <c:v>11.VII.21</c:v>
                </c:pt>
                <c:pt idx="200">
                  <c:v>12.VII.21</c:v>
                </c:pt>
                <c:pt idx="201">
                  <c:v>13.VII.21</c:v>
                </c:pt>
                <c:pt idx="202">
                  <c:v>14.VII.21</c:v>
                </c:pt>
                <c:pt idx="203">
                  <c:v>15.VII.21</c:v>
                </c:pt>
                <c:pt idx="204">
                  <c:v>16.VII.21</c:v>
                </c:pt>
                <c:pt idx="205">
                  <c:v>17.VII.21</c:v>
                </c:pt>
                <c:pt idx="206">
                  <c:v>18.VII.21</c:v>
                </c:pt>
                <c:pt idx="207">
                  <c:v>19.VII.21</c:v>
                </c:pt>
                <c:pt idx="208">
                  <c:v>20.VII.21</c:v>
                </c:pt>
                <c:pt idx="209">
                  <c:v>21.VII.21</c:v>
                </c:pt>
                <c:pt idx="210">
                  <c:v>22.VII.21</c:v>
                </c:pt>
                <c:pt idx="211">
                  <c:v>23.VII.21</c:v>
                </c:pt>
                <c:pt idx="212">
                  <c:v>24.VII.21</c:v>
                </c:pt>
                <c:pt idx="213">
                  <c:v>25.VII.21</c:v>
                </c:pt>
                <c:pt idx="214">
                  <c:v>26.VII.21</c:v>
                </c:pt>
                <c:pt idx="215">
                  <c:v>27.VII.21</c:v>
                </c:pt>
                <c:pt idx="216">
                  <c:v>28.VII.21</c:v>
                </c:pt>
                <c:pt idx="217">
                  <c:v>29.VII.21</c:v>
                </c:pt>
                <c:pt idx="218">
                  <c:v>30.VII.21</c:v>
                </c:pt>
                <c:pt idx="219">
                  <c:v>31.VII.21</c:v>
                </c:pt>
                <c:pt idx="220">
                  <c:v>1.VIII.21</c:v>
                </c:pt>
                <c:pt idx="221">
                  <c:v>2.VIII.21</c:v>
                </c:pt>
                <c:pt idx="222">
                  <c:v>3.VIII.21</c:v>
                </c:pt>
                <c:pt idx="223">
                  <c:v>4.VIII.21</c:v>
                </c:pt>
                <c:pt idx="224">
                  <c:v>5.VIII.21</c:v>
                </c:pt>
                <c:pt idx="225">
                  <c:v>6.VIII.21</c:v>
                </c:pt>
                <c:pt idx="226">
                  <c:v>7.VIII.21</c:v>
                </c:pt>
                <c:pt idx="227">
                  <c:v>8.VIII.21</c:v>
                </c:pt>
                <c:pt idx="228">
                  <c:v>9.VIII.21</c:v>
                </c:pt>
                <c:pt idx="229">
                  <c:v>10.VIII.21</c:v>
                </c:pt>
                <c:pt idx="230">
                  <c:v>11.VIII.21</c:v>
                </c:pt>
                <c:pt idx="231">
                  <c:v>12.VIII.21</c:v>
                </c:pt>
                <c:pt idx="232">
                  <c:v>13.VIII.21</c:v>
                </c:pt>
                <c:pt idx="233">
                  <c:v>14.VIII.21</c:v>
                </c:pt>
                <c:pt idx="234">
                  <c:v>15.VIII.21</c:v>
                </c:pt>
                <c:pt idx="235">
                  <c:v>16.VIII.21</c:v>
                </c:pt>
                <c:pt idx="236">
                  <c:v>17.VIII.21</c:v>
                </c:pt>
                <c:pt idx="237">
                  <c:v>18.VIII.21</c:v>
                </c:pt>
                <c:pt idx="238">
                  <c:v>19.VIII.21</c:v>
                </c:pt>
                <c:pt idx="239">
                  <c:v>20.VIII.21</c:v>
                </c:pt>
                <c:pt idx="240">
                  <c:v>21.VIII.21</c:v>
                </c:pt>
                <c:pt idx="241">
                  <c:v>22.VIII.21</c:v>
                </c:pt>
                <c:pt idx="242">
                  <c:v>23.VIII.21</c:v>
                </c:pt>
                <c:pt idx="243">
                  <c:v>24.VIII.21</c:v>
                </c:pt>
                <c:pt idx="244">
                  <c:v>25.VIII.21</c:v>
                </c:pt>
                <c:pt idx="245">
                  <c:v>26.VIII.21</c:v>
                </c:pt>
                <c:pt idx="246">
                  <c:v>27.VIII.21</c:v>
                </c:pt>
                <c:pt idx="247">
                  <c:v>28.VIII.21</c:v>
                </c:pt>
                <c:pt idx="248">
                  <c:v>29.VIII.21</c:v>
                </c:pt>
                <c:pt idx="249">
                  <c:v>30.VIII.21</c:v>
                </c:pt>
                <c:pt idx="250">
                  <c:v>31.VIII.21</c:v>
                </c:pt>
                <c:pt idx="251">
                  <c:v>1.IX.21</c:v>
                </c:pt>
                <c:pt idx="252">
                  <c:v>2.IX.21</c:v>
                </c:pt>
                <c:pt idx="253">
                  <c:v>3.IX.21</c:v>
                </c:pt>
                <c:pt idx="254">
                  <c:v>4.IX.21</c:v>
                </c:pt>
                <c:pt idx="255">
                  <c:v>5.IX.21</c:v>
                </c:pt>
                <c:pt idx="256">
                  <c:v>6.IX.21</c:v>
                </c:pt>
                <c:pt idx="257">
                  <c:v>7.IX.21</c:v>
                </c:pt>
                <c:pt idx="258">
                  <c:v>8.IX.21</c:v>
                </c:pt>
                <c:pt idx="259">
                  <c:v>9.IX.21</c:v>
                </c:pt>
                <c:pt idx="260">
                  <c:v>10.IX.21</c:v>
                </c:pt>
                <c:pt idx="261">
                  <c:v>11.IX.21</c:v>
                </c:pt>
                <c:pt idx="262">
                  <c:v>12.IX.21</c:v>
                </c:pt>
                <c:pt idx="263">
                  <c:v>13.IX.21</c:v>
                </c:pt>
                <c:pt idx="264">
                  <c:v>14.IX.21</c:v>
                </c:pt>
                <c:pt idx="265">
                  <c:v>15.IX.21</c:v>
                </c:pt>
                <c:pt idx="266">
                  <c:v>16.IX.21</c:v>
                </c:pt>
                <c:pt idx="267">
                  <c:v>17.IX.21</c:v>
                </c:pt>
                <c:pt idx="268">
                  <c:v>18.IX.21</c:v>
                </c:pt>
                <c:pt idx="269">
                  <c:v>19.IX.21</c:v>
                </c:pt>
                <c:pt idx="270">
                  <c:v>20.IX.21</c:v>
                </c:pt>
                <c:pt idx="271">
                  <c:v>21.IX.21</c:v>
                </c:pt>
                <c:pt idx="272">
                  <c:v>22.IX.21</c:v>
                </c:pt>
                <c:pt idx="273">
                  <c:v>23.IX.21</c:v>
                </c:pt>
                <c:pt idx="274">
                  <c:v>24.IX.21</c:v>
                </c:pt>
                <c:pt idx="275">
                  <c:v>25.IX.21</c:v>
                </c:pt>
                <c:pt idx="276">
                  <c:v>26.IX.21</c:v>
                </c:pt>
                <c:pt idx="277">
                  <c:v>27.IX.21</c:v>
                </c:pt>
                <c:pt idx="278">
                  <c:v>28.IX.21</c:v>
                </c:pt>
                <c:pt idx="279">
                  <c:v>29.IX.21</c:v>
                </c:pt>
                <c:pt idx="280">
                  <c:v>30.IX.21</c:v>
                </c:pt>
                <c:pt idx="281">
                  <c:v>1.X.21</c:v>
                </c:pt>
                <c:pt idx="282">
                  <c:v>2.X.21</c:v>
                </c:pt>
                <c:pt idx="283">
                  <c:v>3.X.21</c:v>
                </c:pt>
                <c:pt idx="284">
                  <c:v>4.X.21</c:v>
                </c:pt>
                <c:pt idx="285">
                  <c:v>5.X.21</c:v>
                </c:pt>
                <c:pt idx="286">
                  <c:v>6.X.21</c:v>
                </c:pt>
                <c:pt idx="287">
                  <c:v>7.X.21</c:v>
                </c:pt>
                <c:pt idx="288">
                  <c:v>8.X.21</c:v>
                </c:pt>
                <c:pt idx="289">
                  <c:v>9.X.21</c:v>
                </c:pt>
                <c:pt idx="290">
                  <c:v>10.X.21</c:v>
                </c:pt>
                <c:pt idx="291">
                  <c:v>11.X.21</c:v>
                </c:pt>
                <c:pt idx="292">
                  <c:v>12.X.21</c:v>
                </c:pt>
                <c:pt idx="293">
                  <c:v>13.X.21</c:v>
                </c:pt>
                <c:pt idx="294">
                  <c:v>14.X.21</c:v>
                </c:pt>
                <c:pt idx="295">
                  <c:v>15.X.21</c:v>
                </c:pt>
                <c:pt idx="296">
                  <c:v>16.X.21</c:v>
                </c:pt>
                <c:pt idx="297">
                  <c:v>17.X.21</c:v>
                </c:pt>
                <c:pt idx="298">
                  <c:v>18.X.21</c:v>
                </c:pt>
                <c:pt idx="299">
                  <c:v>19.X.21</c:v>
                </c:pt>
                <c:pt idx="300">
                  <c:v>20.X.21</c:v>
                </c:pt>
                <c:pt idx="301">
                  <c:v>21.X.21</c:v>
                </c:pt>
                <c:pt idx="302">
                  <c:v>22.X.21</c:v>
                </c:pt>
                <c:pt idx="303">
                  <c:v>23.X.21</c:v>
                </c:pt>
                <c:pt idx="304">
                  <c:v>24.X.21</c:v>
                </c:pt>
                <c:pt idx="305">
                  <c:v>25.X.21</c:v>
                </c:pt>
                <c:pt idx="306">
                  <c:v>26.X.21</c:v>
                </c:pt>
                <c:pt idx="307">
                  <c:v>27.X.21</c:v>
                </c:pt>
                <c:pt idx="308">
                  <c:v>28.X.21</c:v>
                </c:pt>
                <c:pt idx="309">
                  <c:v>29.X.21</c:v>
                </c:pt>
                <c:pt idx="310">
                  <c:v>30.X.21</c:v>
                </c:pt>
                <c:pt idx="311">
                  <c:v>31.X.21</c:v>
                </c:pt>
                <c:pt idx="312">
                  <c:v>1.XI.21</c:v>
                </c:pt>
                <c:pt idx="313">
                  <c:v>2.XI.21</c:v>
                </c:pt>
                <c:pt idx="314">
                  <c:v>3.XI.21</c:v>
                </c:pt>
                <c:pt idx="315">
                  <c:v>4.XI.21</c:v>
                </c:pt>
                <c:pt idx="316">
                  <c:v>5.XI.21</c:v>
                </c:pt>
                <c:pt idx="317">
                  <c:v>6.XI.21</c:v>
                </c:pt>
                <c:pt idx="318">
                  <c:v>7.XI.21</c:v>
                </c:pt>
                <c:pt idx="319">
                  <c:v>8.XI.21</c:v>
                </c:pt>
                <c:pt idx="320">
                  <c:v>9.XI.21</c:v>
                </c:pt>
                <c:pt idx="321">
                  <c:v>10.XI.21</c:v>
                </c:pt>
                <c:pt idx="322">
                  <c:v>11.XI.21</c:v>
                </c:pt>
                <c:pt idx="323">
                  <c:v>12.XI.21</c:v>
                </c:pt>
                <c:pt idx="324">
                  <c:v>13.XI.21</c:v>
                </c:pt>
                <c:pt idx="325">
                  <c:v>14.XI.21</c:v>
                </c:pt>
                <c:pt idx="326">
                  <c:v>15.XI.21</c:v>
                </c:pt>
                <c:pt idx="327">
                  <c:v>16.XI.21</c:v>
                </c:pt>
                <c:pt idx="328">
                  <c:v>17.XI.21</c:v>
                </c:pt>
                <c:pt idx="329">
                  <c:v>18.XI.21</c:v>
                </c:pt>
                <c:pt idx="330">
                  <c:v>19.XI.21</c:v>
                </c:pt>
                <c:pt idx="331">
                  <c:v>20.XI.21</c:v>
                </c:pt>
                <c:pt idx="332">
                  <c:v>21.XI.21</c:v>
                </c:pt>
                <c:pt idx="333">
                  <c:v>22.XI.21</c:v>
                </c:pt>
                <c:pt idx="334">
                  <c:v>23.XI.21</c:v>
                </c:pt>
                <c:pt idx="335">
                  <c:v>24.XI.21</c:v>
                </c:pt>
                <c:pt idx="336">
                  <c:v>25.XI.21</c:v>
                </c:pt>
                <c:pt idx="337">
                  <c:v>26.XI.21</c:v>
                </c:pt>
                <c:pt idx="338">
                  <c:v>27.XI.21</c:v>
                </c:pt>
                <c:pt idx="339">
                  <c:v>28.XI.21</c:v>
                </c:pt>
                <c:pt idx="340">
                  <c:v>29.XI.21</c:v>
                </c:pt>
                <c:pt idx="341">
                  <c:v>30.XI.21</c:v>
                </c:pt>
                <c:pt idx="342">
                  <c:v>1.XII.21</c:v>
                </c:pt>
                <c:pt idx="343">
                  <c:v>2.XII.21</c:v>
                </c:pt>
                <c:pt idx="344">
                  <c:v>3.XII.21</c:v>
                </c:pt>
                <c:pt idx="345">
                  <c:v>4.XII.21</c:v>
                </c:pt>
                <c:pt idx="346">
                  <c:v>5.XII.21</c:v>
                </c:pt>
                <c:pt idx="347">
                  <c:v>6.XII.21</c:v>
                </c:pt>
                <c:pt idx="348">
                  <c:v>7.XII.21</c:v>
                </c:pt>
                <c:pt idx="349">
                  <c:v>8.XII.21</c:v>
                </c:pt>
                <c:pt idx="350">
                  <c:v>9.XII.21</c:v>
                </c:pt>
                <c:pt idx="351">
                  <c:v>10.XII.21</c:v>
                </c:pt>
                <c:pt idx="352">
                  <c:v>11.XII.21</c:v>
                </c:pt>
                <c:pt idx="353">
                  <c:v>12.XII.21</c:v>
                </c:pt>
                <c:pt idx="354">
                  <c:v>13.XII.21</c:v>
                </c:pt>
                <c:pt idx="355">
                  <c:v>14.XII.21</c:v>
                </c:pt>
                <c:pt idx="356">
                  <c:v>15.XII.21</c:v>
                </c:pt>
                <c:pt idx="357">
                  <c:v>16.XII.21</c:v>
                </c:pt>
                <c:pt idx="358">
                  <c:v>17.XII.21</c:v>
                </c:pt>
                <c:pt idx="359">
                  <c:v>18.XII.21</c:v>
                </c:pt>
                <c:pt idx="360">
                  <c:v>19.XII.21</c:v>
                </c:pt>
                <c:pt idx="361">
                  <c:v>20.XII.21</c:v>
                </c:pt>
                <c:pt idx="362">
                  <c:v>21.XII.21</c:v>
                </c:pt>
                <c:pt idx="363">
                  <c:v>22.XII.21</c:v>
                </c:pt>
                <c:pt idx="364">
                  <c:v>23.XII.21</c:v>
                </c:pt>
                <c:pt idx="365">
                  <c:v>24.XII.21</c:v>
                </c:pt>
                <c:pt idx="366">
                  <c:v>27.XII.21</c:v>
                </c:pt>
                <c:pt idx="367">
                  <c:v>28.XII.21</c:v>
                </c:pt>
                <c:pt idx="368">
                  <c:v>29.XII.21</c:v>
                </c:pt>
                <c:pt idx="369">
                  <c:v>30.XII.21</c:v>
                </c:pt>
                <c:pt idx="370">
                  <c:v>31.XII.21</c:v>
                </c:pt>
                <c:pt idx="371">
                  <c:v>2.I.22</c:v>
                </c:pt>
                <c:pt idx="372">
                  <c:v>3.I.22</c:v>
                </c:pt>
                <c:pt idx="373">
                  <c:v>4.I.22</c:v>
                </c:pt>
                <c:pt idx="374">
                  <c:v>5.I.22</c:v>
                </c:pt>
                <c:pt idx="375">
                  <c:v>6.I.22</c:v>
                </c:pt>
                <c:pt idx="376">
                  <c:v>7.I.22</c:v>
                </c:pt>
                <c:pt idx="377">
                  <c:v>8.I.22</c:v>
                </c:pt>
                <c:pt idx="378">
                  <c:v>9.I.22</c:v>
                </c:pt>
                <c:pt idx="379">
                  <c:v>10.I.22</c:v>
                </c:pt>
                <c:pt idx="380">
                  <c:v>11.I.22</c:v>
                </c:pt>
                <c:pt idx="381">
                  <c:v>12.I.22</c:v>
                </c:pt>
                <c:pt idx="382">
                  <c:v>13.I.22</c:v>
                </c:pt>
                <c:pt idx="383">
                  <c:v>14.I.22</c:v>
                </c:pt>
                <c:pt idx="384">
                  <c:v>15.I.22</c:v>
                </c:pt>
                <c:pt idx="385">
                  <c:v>16.I.22</c:v>
                </c:pt>
                <c:pt idx="386">
                  <c:v>17.I.22</c:v>
                </c:pt>
                <c:pt idx="387">
                  <c:v>18.I.22</c:v>
                </c:pt>
                <c:pt idx="388">
                  <c:v>19.I.22</c:v>
                </c:pt>
                <c:pt idx="389">
                  <c:v>20.I.22</c:v>
                </c:pt>
                <c:pt idx="390">
                  <c:v>21.I.22</c:v>
                </c:pt>
                <c:pt idx="391">
                  <c:v>22.I.22</c:v>
                </c:pt>
                <c:pt idx="392">
                  <c:v>23.I.22</c:v>
                </c:pt>
                <c:pt idx="393">
                  <c:v>24.I.22</c:v>
                </c:pt>
                <c:pt idx="394">
                  <c:v>25.I.22</c:v>
                </c:pt>
                <c:pt idx="395">
                  <c:v>26.I.22</c:v>
                </c:pt>
                <c:pt idx="396">
                  <c:v>27.I.22</c:v>
                </c:pt>
                <c:pt idx="397">
                  <c:v>28.I.22</c:v>
                </c:pt>
                <c:pt idx="398">
                  <c:v>29.I.22</c:v>
                </c:pt>
                <c:pt idx="399">
                  <c:v>30.I.22</c:v>
                </c:pt>
                <c:pt idx="400">
                  <c:v>31.I.22</c:v>
                </c:pt>
                <c:pt idx="401">
                  <c:v>1.II.22</c:v>
                </c:pt>
                <c:pt idx="402">
                  <c:v>2.II.22</c:v>
                </c:pt>
                <c:pt idx="403">
                  <c:v>3.II.22</c:v>
                </c:pt>
                <c:pt idx="404">
                  <c:v>4.II.22</c:v>
                </c:pt>
                <c:pt idx="405">
                  <c:v>5.II.22</c:v>
                </c:pt>
                <c:pt idx="406">
                  <c:v>6.II.22</c:v>
                </c:pt>
                <c:pt idx="407">
                  <c:v>7.II.22</c:v>
                </c:pt>
                <c:pt idx="408">
                  <c:v>8.II.22</c:v>
                </c:pt>
                <c:pt idx="409">
                  <c:v>9.II.22</c:v>
                </c:pt>
                <c:pt idx="410">
                  <c:v>10.II.22</c:v>
                </c:pt>
                <c:pt idx="411">
                  <c:v>11.II.22</c:v>
                </c:pt>
                <c:pt idx="412">
                  <c:v>12.II.22</c:v>
                </c:pt>
                <c:pt idx="413">
                  <c:v>14.II.22</c:v>
                </c:pt>
                <c:pt idx="414">
                  <c:v>15.II.22</c:v>
                </c:pt>
                <c:pt idx="415">
                  <c:v>16.II.22</c:v>
                </c:pt>
                <c:pt idx="416">
                  <c:v>17.II.22</c:v>
                </c:pt>
                <c:pt idx="417">
                  <c:v>18.II.22</c:v>
                </c:pt>
                <c:pt idx="418">
                  <c:v>19.II.22</c:v>
                </c:pt>
                <c:pt idx="419">
                  <c:v>21.II.22</c:v>
                </c:pt>
                <c:pt idx="420">
                  <c:v>22.II.22</c:v>
                </c:pt>
                <c:pt idx="421">
                  <c:v>23.II.22</c:v>
                </c:pt>
                <c:pt idx="422">
                  <c:v>24.II.22</c:v>
                </c:pt>
                <c:pt idx="423">
                  <c:v>25.II.22</c:v>
                </c:pt>
                <c:pt idx="424">
                  <c:v>28.II.22</c:v>
                </c:pt>
                <c:pt idx="425">
                  <c:v>1.III.22</c:v>
                </c:pt>
                <c:pt idx="426">
                  <c:v>2.III.22</c:v>
                </c:pt>
                <c:pt idx="427">
                  <c:v>3.III.22</c:v>
                </c:pt>
                <c:pt idx="428">
                  <c:v>4.III.22</c:v>
                </c:pt>
                <c:pt idx="429">
                  <c:v>5.III.22</c:v>
                </c:pt>
                <c:pt idx="430">
                  <c:v>7.III.22</c:v>
                </c:pt>
                <c:pt idx="431">
                  <c:v>8.III.22</c:v>
                </c:pt>
                <c:pt idx="432">
                  <c:v>9.III.22</c:v>
                </c:pt>
                <c:pt idx="433">
                  <c:v>10.III.22</c:v>
                </c:pt>
                <c:pt idx="434">
                  <c:v>11.III.22</c:v>
                </c:pt>
              </c:strCache>
            </c:strRef>
          </c:cat>
          <c:val>
            <c:numRef>
              <c:f>List1!$F$3:$PX$3</c:f>
              <c:numCache>
                <c:formatCode>General</c:formatCode>
                <c:ptCount val="435"/>
                <c:pt idx="3">
                  <c:v>409</c:v>
                </c:pt>
                <c:pt idx="4">
                  <c:v>1122</c:v>
                </c:pt>
                <c:pt idx="5">
                  <c:v>2231</c:v>
                </c:pt>
                <c:pt idx="6">
                  <c:v>3367</c:v>
                </c:pt>
                <c:pt idx="7">
                  <c:v>3747</c:v>
                </c:pt>
                <c:pt idx="8">
                  <c:v>3866</c:v>
                </c:pt>
                <c:pt idx="9">
                  <c:v>4347</c:v>
                </c:pt>
                <c:pt idx="10">
                  <c:v>4665</c:v>
                </c:pt>
                <c:pt idx="11">
                  <c:v>6010</c:v>
                </c:pt>
                <c:pt idx="12">
                  <c:v>7653</c:v>
                </c:pt>
                <c:pt idx="13">
                  <c:v>9665</c:v>
                </c:pt>
                <c:pt idx="14">
                  <c:v>12221</c:v>
                </c:pt>
                <c:pt idx="15">
                  <c:v>15352</c:v>
                </c:pt>
                <c:pt idx="16">
                  <c:v>15798</c:v>
                </c:pt>
                <c:pt idx="17">
                  <c:v>16154</c:v>
                </c:pt>
                <c:pt idx="18">
                  <c:v>18952</c:v>
                </c:pt>
                <c:pt idx="19">
                  <c:v>22142</c:v>
                </c:pt>
                <c:pt idx="20">
                  <c:v>25011</c:v>
                </c:pt>
                <c:pt idx="21">
                  <c:v>28203</c:v>
                </c:pt>
                <c:pt idx="22">
                  <c:v>30985</c:v>
                </c:pt>
                <c:pt idx="23">
                  <c:v>31366</c:v>
                </c:pt>
                <c:pt idx="24">
                  <c:v>31593</c:v>
                </c:pt>
                <c:pt idx="25">
                  <c:v>33547</c:v>
                </c:pt>
                <c:pt idx="26">
                  <c:v>35235</c:v>
                </c:pt>
                <c:pt idx="27">
                  <c:v>36885</c:v>
                </c:pt>
                <c:pt idx="28">
                  <c:v>38420</c:v>
                </c:pt>
                <c:pt idx="29">
                  <c:v>39730</c:v>
                </c:pt>
                <c:pt idx="30">
                  <c:v>39886</c:v>
                </c:pt>
                <c:pt idx="31">
                  <c:v>39995</c:v>
                </c:pt>
                <c:pt idx="32">
                  <c:v>40640</c:v>
                </c:pt>
                <c:pt idx="33">
                  <c:v>41414</c:v>
                </c:pt>
                <c:pt idx="34">
                  <c:v>42067</c:v>
                </c:pt>
                <c:pt idx="35">
                  <c:v>42675</c:v>
                </c:pt>
                <c:pt idx="36">
                  <c:v>43239</c:v>
                </c:pt>
                <c:pt idx="37">
                  <c:v>43261</c:v>
                </c:pt>
                <c:pt idx="38">
                  <c:v>43279</c:v>
                </c:pt>
                <c:pt idx="39">
                  <c:v>43637</c:v>
                </c:pt>
                <c:pt idx="40">
                  <c:v>43979</c:v>
                </c:pt>
                <c:pt idx="41">
                  <c:v>44340</c:v>
                </c:pt>
                <c:pt idx="42">
                  <c:v>44670</c:v>
                </c:pt>
                <c:pt idx="43">
                  <c:v>45088</c:v>
                </c:pt>
                <c:pt idx="44">
                  <c:v>45110</c:v>
                </c:pt>
                <c:pt idx="45">
                  <c:v>45131</c:v>
                </c:pt>
                <c:pt idx="46">
                  <c:v>45400</c:v>
                </c:pt>
                <c:pt idx="47">
                  <c:v>45722</c:v>
                </c:pt>
                <c:pt idx="48">
                  <c:v>46124</c:v>
                </c:pt>
                <c:pt idx="49">
                  <c:v>46596</c:v>
                </c:pt>
                <c:pt idx="50">
                  <c:v>47128</c:v>
                </c:pt>
                <c:pt idx="51">
                  <c:v>47302</c:v>
                </c:pt>
                <c:pt idx="52">
                  <c:v>47356</c:v>
                </c:pt>
                <c:pt idx="53">
                  <c:v>47907</c:v>
                </c:pt>
                <c:pt idx="54">
                  <c:v>48395</c:v>
                </c:pt>
                <c:pt idx="55">
                  <c:v>48965</c:v>
                </c:pt>
                <c:pt idx="56">
                  <c:v>49634</c:v>
                </c:pt>
                <c:pt idx="57">
                  <c:v>50391</c:v>
                </c:pt>
                <c:pt idx="58">
                  <c:v>50521</c:v>
                </c:pt>
                <c:pt idx="59">
                  <c:v>50580</c:v>
                </c:pt>
                <c:pt idx="60">
                  <c:v>51177</c:v>
                </c:pt>
                <c:pt idx="61">
                  <c:v>51992</c:v>
                </c:pt>
                <c:pt idx="62">
                  <c:v>52816</c:v>
                </c:pt>
                <c:pt idx="63">
                  <c:v>54042</c:v>
                </c:pt>
                <c:pt idx="64">
                  <c:v>55032</c:v>
                </c:pt>
                <c:pt idx="65">
                  <c:v>55107</c:v>
                </c:pt>
                <c:pt idx="66">
                  <c:v>55155</c:v>
                </c:pt>
                <c:pt idx="67">
                  <c:v>56043</c:v>
                </c:pt>
                <c:pt idx="68">
                  <c:v>56995</c:v>
                </c:pt>
                <c:pt idx="69">
                  <c:v>57991</c:v>
                </c:pt>
                <c:pt idx="70">
                  <c:v>58901</c:v>
                </c:pt>
                <c:pt idx="71">
                  <c:v>60089</c:v>
                </c:pt>
                <c:pt idx="72">
                  <c:v>60339</c:v>
                </c:pt>
                <c:pt idx="73">
                  <c:v>60530</c:v>
                </c:pt>
                <c:pt idx="74">
                  <c:v>61308</c:v>
                </c:pt>
                <c:pt idx="75">
                  <c:v>62235</c:v>
                </c:pt>
                <c:pt idx="76">
                  <c:v>63183</c:v>
                </c:pt>
                <c:pt idx="77">
                  <c:v>64510</c:v>
                </c:pt>
                <c:pt idx="78">
                  <c:v>65615</c:v>
                </c:pt>
                <c:pt idx="79">
                  <c:v>65851</c:v>
                </c:pt>
                <c:pt idx="80">
                  <c:v>66094</c:v>
                </c:pt>
                <c:pt idx="81">
                  <c:v>66798</c:v>
                </c:pt>
                <c:pt idx="82">
                  <c:v>67839</c:v>
                </c:pt>
                <c:pt idx="83">
                  <c:v>68860</c:v>
                </c:pt>
                <c:pt idx="84">
                  <c:v>69755</c:v>
                </c:pt>
                <c:pt idx="85">
                  <c:v>70730</c:v>
                </c:pt>
                <c:pt idx="86">
                  <c:v>71090</c:v>
                </c:pt>
                <c:pt idx="87">
                  <c:v>71262</c:v>
                </c:pt>
                <c:pt idx="88">
                  <c:v>71794</c:v>
                </c:pt>
                <c:pt idx="89">
                  <c:v>72344</c:v>
                </c:pt>
                <c:pt idx="90">
                  <c:v>72850</c:v>
                </c:pt>
                <c:pt idx="91">
                  <c:v>73408</c:v>
                </c:pt>
                <c:pt idx="92">
                  <c:v>73989</c:v>
                </c:pt>
                <c:pt idx="93">
                  <c:v>74140</c:v>
                </c:pt>
                <c:pt idx="94">
                  <c:v>74307</c:v>
                </c:pt>
                <c:pt idx="95">
                  <c:v>74655</c:v>
                </c:pt>
                <c:pt idx="96">
                  <c:v>75102</c:v>
                </c:pt>
                <c:pt idx="97">
                  <c:v>75570</c:v>
                </c:pt>
                <c:pt idx="98">
                  <c:v>76024</c:v>
                </c:pt>
                <c:pt idx="99">
                  <c:v>76128</c:v>
                </c:pt>
                <c:pt idx="100">
                  <c:v>76170</c:v>
                </c:pt>
                <c:pt idx="101">
                  <c:v>76219</c:v>
                </c:pt>
                <c:pt idx="102">
                  <c:v>76255</c:v>
                </c:pt>
                <c:pt idx="103">
                  <c:v>76500</c:v>
                </c:pt>
                <c:pt idx="104">
                  <c:v>76817</c:v>
                </c:pt>
                <c:pt idx="105">
                  <c:v>77355</c:v>
                </c:pt>
                <c:pt idx="106">
                  <c:v>77929</c:v>
                </c:pt>
                <c:pt idx="107">
                  <c:v>78088</c:v>
                </c:pt>
                <c:pt idx="108">
                  <c:v>78189</c:v>
                </c:pt>
                <c:pt idx="109">
                  <c:v>78616</c:v>
                </c:pt>
                <c:pt idx="110">
                  <c:v>78996</c:v>
                </c:pt>
                <c:pt idx="111">
                  <c:v>79450</c:v>
                </c:pt>
                <c:pt idx="112">
                  <c:v>80110</c:v>
                </c:pt>
                <c:pt idx="113">
                  <c:v>80836</c:v>
                </c:pt>
                <c:pt idx="114">
                  <c:v>81040</c:v>
                </c:pt>
                <c:pt idx="115">
                  <c:v>81232</c:v>
                </c:pt>
                <c:pt idx="116">
                  <c:v>81754</c:v>
                </c:pt>
                <c:pt idx="117">
                  <c:v>82257</c:v>
                </c:pt>
                <c:pt idx="118">
                  <c:v>82915</c:v>
                </c:pt>
                <c:pt idx="119">
                  <c:v>83640</c:v>
                </c:pt>
                <c:pt idx="120">
                  <c:v>84351</c:v>
                </c:pt>
                <c:pt idx="121">
                  <c:v>84551</c:v>
                </c:pt>
                <c:pt idx="122">
                  <c:v>84739</c:v>
                </c:pt>
                <c:pt idx="123">
                  <c:v>85343</c:v>
                </c:pt>
                <c:pt idx="124">
                  <c:v>85890</c:v>
                </c:pt>
                <c:pt idx="125">
                  <c:v>86592</c:v>
                </c:pt>
                <c:pt idx="126">
                  <c:v>87348</c:v>
                </c:pt>
                <c:pt idx="127">
                  <c:v>87995</c:v>
                </c:pt>
                <c:pt idx="128">
                  <c:v>88149</c:v>
                </c:pt>
                <c:pt idx="129">
                  <c:v>88302</c:v>
                </c:pt>
                <c:pt idx="130">
                  <c:v>88809</c:v>
                </c:pt>
                <c:pt idx="131">
                  <c:v>89331</c:v>
                </c:pt>
                <c:pt idx="132">
                  <c:v>89855</c:v>
                </c:pt>
                <c:pt idx="133">
                  <c:v>90403</c:v>
                </c:pt>
                <c:pt idx="134">
                  <c:v>90974</c:v>
                </c:pt>
                <c:pt idx="135">
                  <c:v>91192</c:v>
                </c:pt>
                <c:pt idx="136">
                  <c:v>91299</c:v>
                </c:pt>
                <c:pt idx="137">
                  <c:v>91696</c:v>
                </c:pt>
                <c:pt idx="138">
                  <c:v>92175</c:v>
                </c:pt>
                <c:pt idx="139">
                  <c:v>92608</c:v>
                </c:pt>
                <c:pt idx="140">
                  <c:v>93043</c:v>
                </c:pt>
                <c:pt idx="141">
                  <c:v>93410</c:v>
                </c:pt>
                <c:pt idx="142">
                  <c:v>93572</c:v>
                </c:pt>
                <c:pt idx="143">
                  <c:v>93676</c:v>
                </c:pt>
                <c:pt idx="144">
                  <c:v>93992</c:v>
                </c:pt>
                <c:pt idx="145">
                  <c:v>94365</c:v>
                </c:pt>
                <c:pt idx="146">
                  <c:v>94726</c:v>
                </c:pt>
                <c:pt idx="147">
                  <c:v>95118</c:v>
                </c:pt>
                <c:pt idx="148">
                  <c:v>95483</c:v>
                </c:pt>
                <c:pt idx="149">
                  <c:v>95628</c:v>
                </c:pt>
                <c:pt idx="150">
                  <c:v>95726</c:v>
                </c:pt>
                <c:pt idx="151">
                  <c:v>95941</c:v>
                </c:pt>
                <c:pt idx="152">
                  <c:v>96180</c:v>
                </c:pt>
                <c:pt idx="153">
                  <c:v>96530</c:v>
                </c:pt>
                <c:pt idx="154">
                  <c:v>96857</c:v>
                </c:pt>
                <c:pt idx="155">
                  <c:v>97142</c:v>
                </c:pt>
                <c:pt idx="156">
                  <c:v>97285</c:v>
                </c:pt>
                <c:pt idx="157">
                  <c:v>97374</c:v>
                </c:pt>
                <c:pt idx="158">
                  <c:v>97652</c:v>
                </c:pt>
                <c:pt idx="159">
                  <c:v>97922</c:v>
                </c:pt>
                <c:pt idx="160">
                  <c:v>98266</c:v>
                </c:pt>
                <c:pt idx="161">
                  <c:v>98619</c:v>
                </c:pt>
                <c:pt idx="162">
                  <c:v>98945</c:v>
                </c:pt>
                <c:pt idx="163">
                  <c:v>99081</c:v>
                </c:pt>
                <c:pt idx="164">
                  <c:v>99210</c:v>
                </c:pt>
                <c:pt idx="165">
                  <c:v>99548</c:v>
                </c:pt>
                <c:pt idx="166">
                  <c:v>99888</c:v>
                </c:pt>
                <c:pt idx="167">
                  <c:v>100238</c:v>
                </c:pt>
                <c:pt idx="168">
                  <c:v>100600</c:v>
                </c:pt>
                <c:pt idx="169">
                  <c:v>100900</c:v>
                </c:pt>
                <c:pt idx="170">
                  <c:v>101108</c:v>
                </c:pt>
                <c:pt idx="171">
                  <c:v>101225</c:v>
                </c:pt>
                <c:pt idx="172">
                  <c:v>101469</c:v>
                </c:pt>
                <c:pt idx="173">
                  <c:v>101743</c:v>
                </c:pt>
                <c:pt idx="174">
                  <c:v>101983</c:v>
                </c:pt>
                <c:pt idx="175">
                  <c:v>102253</c:v>
                </c:pt>
                <c:pt idx="176">
                  <c:v>102470</c:v>
                </c:pt>
                <c:pt idx="177">
                  <c:v>102588</c:v>
                </c:pt>
                <c:pt idx="178">
                  <c:v>102682</c:v>
                </c:pt>
                <c:pt idx="179">
                  <c:v>102859</c:v>
                </c:pt>
                <c:pt idx="180">
                  <c:v>103080</c:v>
                </c:pt>
                <c:pt idx="181">
                  <c:v>103267</c:v>
                </c:pt>
                <c:pt idx="182">
                  <c:v>103428</c:v>
                </c:pt>
                <c:pt idx="183">
                  <c:v>103614</c:v>
                </c:pt>
                <c:pt idx="184">
                  <c:v>103705</c:v>
                </c:pt>
                <c:pt idx="185">
                  <c:v>103773</c:v>
                </c:pt>
                <c:pt idx="186">
                  <c:v>103954</c:v>
                </c:pt>
                <c:pt idx="187">
                  <c:v>104122</c:v>
                </c:pt>
                <c:pt idx="188">
                  <c:v>104303</c:v>
                </c:pt>
                <c:pt idx="189">
                  <c:v>104444</c:v>
                </c:pt>
                <c:pt idx="190">
                  <c:v>104636</c:v>
                </c:pt>
                <c:pt idx="191">
                  <c:v>104671</c:v>
                </c:pt>
                <c:pt idx="192">
                  <c:v>104716</c:v>
                </c:pt>
                <c:pt idx="193">
                  <c:v>104765</c:v>
                </c:pt>
                <c:pt idx="194">
                  <c:v>104797</c:v>
                </c:pt>
                <c:pt idx="195">
                  <c:v>104962</c:v>
                </c:pt>
                <c:pt idx="196">
                  <c:v>105140</c:v>
                </c:pt>
                <c:pt idx="197">
                  <c:v>105313</c:v>
                </c:pt>
                <c:pt idx="198">
                  <c:v>105373</c:v>
                </c:pt>
                <c:pt idx="199">
                  <c:v>105422</c:v>
                </c:pt>
                <c:pt idx="200">
                  <c:v>105584</c:v>
                </c:pt>
                <c:pt idx="201">
                  <c:v>105769</c:v>
                </c:pt>
                <c:pt idx="202">
                  <c:v>105972</c:v>
                </c:pt>
                <c:pt idx="203">
                  <c:v>106163</c:v>
                </c:pt>
                <c:pt idx="204">
                  <c:v>106346</c:v>
                </c:pt>
                <c:pt idx="205">
                  <c:v>106396</c:v>
                </c:pt>
                <c:pt idx="206">
                  <c:v>106454</c:v>
                </c:pt>
                <c:pt idx="207">
                  <c:v>106624</c:v>
                </c:pt>
                <c:pt idx="208">
                  <c:v>106773</c:v>
                </c:pt>
                <c:pt idx="209">
                  <c:v>106953</c:v>
                </c:pt>
                <c:pt idx="210">
                  <c:v>107131</c:v>
                </c:pt>
                <c:pt idx="211">
                  <c:v>107278</c:v>
                </c:pt>
                <c:pt idx="212">
                  <c:v>107321</c:v>
                </c:pt>
                <c:pt idx="213">
                  <c:v>107347</c:v>
                </c:pt>
                <c:pt idx="214">
                  <c:v>107515</c:v>
                </c:pt>
                <c:pt idx="215">
                  <c:v>107685</c:v>
                </c:pt>
                <c:pt idx="216">
                  <c:v>107837</c:v>
                </c:pt>
                <c:pt idx="217">
                  <c:v>107986</c:v>
                </c:pt>
                <c:pt idx="218">
                  <c:v>108150</c:v>
                </c:pt>
                <c:pt idx="219">
                  <c:v>108189</c:v>
                </c:pt>
                <c:pt idx="220">
                  <c:v>108229</c:v>
                </c:pt>
                <c:pt idx="221">
                  <c:v>108328</c:v>
                </c:pt>
                <c:pt idx="222">
                  <c:v>108440</c:v>
                </c:pt>
                <c:pt idx="223">
                  <c:v>108569</c:v>
                </c:pt>
                <c:pt idx="224">
                  <c:v>108678</c:v>
                </c:pt>
                <c:pt idx="225">
                  <c:v>108797</c:v>
                </c:pt>
                <c:pt idx="226">
                  <c:v>108819</c:v>
                </c:pt>
                <c:pt idx="227">
                  <c:v>108844</c:v>
                </c:pt>
                <c:pt idx="228">
                  <c:v>108929</c:v>
                </c:pt>
                <c:pt idx="229">
                  <c:v>109008</c:v>
                </c:pt>
                <c:pt idx="230">
                  <c:v>109078</c:v>
                </c:pt>
                <c:pt idx="231">
                  <c:v>109184</c:v>
                </c:pt>
                <c:pt idx="232">
                  <c:v>109247</c:v>
                </c:pt>
                <c:pt idx="233">
                  <c:v>109268</c:v>
                </c:pt>
                <c:pt idx="234">
                  <c:v>109290</c:v>
                </c:pt>
                <c:pt idx="235">
                  <c:v>109373</c:v>
                </c:pt>
                <c:pt idx="236">
                  <c:v>109452</c:v>
                </c:pt>
                <c:pt idx="237">
                  <c:v>109514</c:v>
                </c:pt>
                <c:pt idx="238">
                  <c:v>109584</c:v>
                </c:pt>
                <c:pt idx="239">
                  <c:v>109699</c:v>
                </c:pt>
                <c:pt idx="240">
                  <c:v>109713</c:v>
                </c:pt>
                <c:pt idx="241">
                  <c:v>109724</c:v>
                </c:pt>
                <c:pt idx="242">
                  <c:v>109820</c:v>
                </c:pt>
                <c:pt idx="243">
                  <c:v>109908</c:v>
                </c:pt>
                <c:pt idx="244">
                  <c:v>109974</c:v>
                </c:pt>
                <c:pt idx="245">
                  <c:v>110046</c:v>
                </c:pt>
                <c:pt idx="246">
                  <c:v>110134</c:v>
                </c:pt>
                <c:pt idx="247">
                  <c:v>110150</c:v>
                </c:pt>
                <c:pt idx="248">
                  <c:v>110166</c:v>
                </c:pt>
                <c:pt idx="249">
                  <c:v>110238</c:v>
                </c:pt>
                <c:pt idx="250">
                  <c:v>110299</c:v>
                </c:pt>
                <c:pt idx="251">
                  <c:v>110356</c:v>
                </c:pt>
                <c:pt idx="252">
                  <c:v>110430</c:v>
                </c:pt>
                <c:pt idx="253">
                  <c:v>110506</c:v>
                </c:pt>
                <c:pt idx="254">
                  <c:v>110518</c:v>
                </c:pt>
                <c:pt idx="255">
                  <c:v>110528</c:v>
                </c:pt>
                <c:pt idx="256">
                  <c:v>110587</c:v>
                </c:pt>
                <c:pt idx="257">
                  <c:v>110629</c:v>
                </c:pt>
                <c:pt idx="258">
                  <c:v>110679</c:v>
                </c:pt>
                <c:pt idx="259">
                  <c:v>110735</c:v>
                </c:pt>
                <c:pt idx="260">
                  <c:v>110786</c:v>
                </c:pt>
                <c:pt idx="261">
                  <c:v>110803</c:v>
                </c:pt>
                <c:pt idx="262">
                  <c:v>110810</c:v>
                </c:pt>
                <c:pt idx="263">
                  <c:v>110854</c:v>
                </c:pt>
                <c:pt idx="264">
                  <c:v>110917</c:v>
                </c:pt>
                <c:pt idx="265">
                  <c:v>110966</c:v>
                </c:pt>
                <c:pt idx="266">
                  <c:v>111023</c:v>
                </c:pt>
                <c:pt idx="267">
                  <c:v>111090</c:v>
                </c:pt>
                <c:pt idx="268">
                  <c:v>111107</c:v>
                </c:pt>
                <c:pt idx="269">
                  <c:v>111114</c:v>
                </c:pt>
                <c:pt idx="270">
                  <c:v>111152</c:v>
                </c:pt>
                <c:pt idx="271">
                  <c:v>111201</c:v>
                </c:pt>
                <c:pt idx="272">
                  <c:v>111244</c:v>
                </c:pt>
                <c:pt idx="273">
                  <c:v>111297</c:v>
                </c:pt>
                <c:pt idx="274">
                  <c:v>111369</c:v>
                </c:pt>
                <c:pt idx="275">
                  <c:v>111379</c:v>
                </c:pt>
                <c:pt idx="276">
                  <c:v>111383</c:v>
                </c:pt>
                <c:pt idx="277">
                  <c:v>111426</c:v>
                </c:pt>
                <c:pt idx="278">
                  <c:v>111428</c:v>
                </c:pt>
                <c:pt idx="279">
                  <c:v>111469</c:v>
                </c:pt>
                <c:pt idx="280">
                  <c:v>111508</c:v>
                </c:pt>
                <c:pt idx="281">
                  <c:v>111542</c:v>
                </c:pt>
                <c:pt idx="282">
                  <c:v>111549</c:v>
                </c:pt>
                <c:pt idx="283">
                  <c:v>111556</c:v>
                </c:pt>
                <c:pt idx="284">
                  <c:v>111584</c:v>
                </c:pt>
                <c:pt idx="285">
                  <c:v>111631</c:v>
                </c:pt>
                <c:pt idx="286">
                  <c:v>111680</c:v>
                </c:pt>
                <c:pt idx="287">
                  <c:v>111708</c:v>
                </c:pt>
                <c:pt idx="288">
                  <c:v>111758</c:v>
                </c:pt>
                <c:pt idx="289">
                  <c:v>111768</c:v>
                </c:pt>
                <c:pt idx="290">
                  <c:v>111773</c:v>
                </c:pt>
                <c:pt idx="291">
                  <c:v>111802</c:v>
                </c:pt>
                <c:pt idx="292">
                  <c:v>111823</c:v>
                </c:pt>
                <c:pt idx="293">
                  <c:v>111860</c:v>
                </c:pt>
                <c:pt idx="294">
                  <c:v>111891</c:v>
                </c:pt>
                <c:pt idx="295">
                  <c:v>111937</c:v>
                </c:pt>
                <c:pt idx="296">
                  <c:v>111949</c:v>
                </c:pt>
                <c:pt idx="297">
                  <c:v>111966</c:v>
                </c:pt>
                <c:pt idx="298">
                  <c:v>112018</c:v>
                </c:pt>
                <c:pt idx="299">
                  <c:v>112074</c:v>
                </c:pt>
                <c:pt idx="300">
                  <c:v>112132</c:v>
                </c:pt>
                <c:pt idx="301">
                  <c:v>112246</c:v>
                </c:pt>
                <c:pt idx="302">
                  <c:v>112370</c:v>
                </c:pt>
                <c:pt idx="303">
                  <c:v>112396</c:v>
                </c:pt>
                <c:pt idx="304">
                  <c:v>112420</c:v>
                </c:pt>
                <c:pt idx="305">
                  <c:v>112544</c:v>
                </c:pt>
                <c:pt idx="306">
                  <c:v>112712</c:v>
                </c:pt>
                <c:pt idx="307">
                  <c:v>112914</c:v>
                </c:pt>
                <c:pt idx="308">
                  <c:v>112951</c:v>
                </c:pt>
                <c:pt idx="309">
                  <c:v>113115</c:v>
                </c:pt>
                <c:pt idx="310">
                  <c:v>113161</c:v>
                </c:pt>
                <c:pt idx="311">
                  <c:v>113193</c:v>
                </c:pt>
                <c:pt idx="312">
                  <c:v>113361</c:v>
                </c:pt>
                <c:pt idx="313">
                  <c:v>113562</c:v>
                </c:pt>
                <c:pt idx="314">
                  <c:v>113753</c:v>
                </c:pt>
                <c:pt idx="315">
                  <c:v>113986</c:v>
                </c:pt>
                <c:pt idx="316">
                  <c:v>114235</c:v>
                </c:pt>
                <c:pt idx="317">
                  <c:v>114293</c:v>
                </c:pt>
                <c:pt idx="318">
                  <c:v>114331</c:v>
                </c:pt>
                <c:pt idx="319">
                  <c:v>114516</c:v>
                </c:pt>
                <c:pt idx="320">
                  <c:v>114671</c:v>
                </c:pt>
                <c:pt idx="321">
                  <c:v>114859</c:v>
                </c:pt>
                <c:pt idx="322">
                  <c:v>115036</c:v>
                </c:pt>
                <c:pt idx="323">
                  <c:v>115241</c:v>
                </c:pt>
                <c:pt idx="324">
                  <c:v>115300</c:v>
                </c:pt>
                <c:pt idx="325">
                  <c:v>115339</c:v>
                </c:pt>
                <c:pt idx="326">
                  <c:v>115529</c:v>
                </c:pt>
                <c:pt idx="327">
                  <c:v>115732</c:v>
                </c:pt>
                <c:pt idx="328">
                  <c:v>115782</c:v>
                </c:pt>
                <c:pt idx="329">
                  <c:v>116006</c:v>
                </c:pt>
                <c:pt idx="330">
                  <c:v>116283</c:v>
                </c:pt>
                <c:pt idx="331">
                  <c:v>116374</c:v>
                </c:pt>
                <c:pt idx="332">
                  <c:v>116441</c:v>
                </c:pt>
                <c:pt idx="333">
                  <c:v>116627</c:v>
                </c:pt>
                <c:pt idx="334">
                  <c:v>116806</c:v>
                </c:pt>
                <c:pt idx="335">
                  <c:v>117031</c:v>
                </c:pt>
                <c:pt idx="336">
                  <c:v>117246</c:v>
                </c:pt>
                <c:pt idx="337">
                  <c:v>117482</c:v>
                </c:pt>
                <c:pt idx="338">
                  <c:v>117544</c:v>
                </c:pt>
                <c:pt idx="339">
                  <c:v>117567</c:v>
                </c:pt>
                <c:pt idx="340">
                  <c:v>117717</c:v>
                </c:pt>
                <c:pt idx="341">
                  <c:v>117876</c:v>
                </c:pt>
                <c:pt idx="342">
                  <c:v>118031</c:v>
                </c:pt>
                <c:pt idx="343">
                  <c:v>118147</c:v>
                </c:pt>
                <c:pt idx="344">
                  <c:v>118261</c:v>
                </c:pt>
                <c:pt idx="345">
                  <c:v>118288</c:v>
                </c:pt>
                <c:pt idx="346">
                  <c:v>118299</c:v>
                </c:pt>
                <c:pt idx="347">
                  <c:v>118399</c:v>
                </c:pt>
                <c:pt idx="348">
                  <c:v>118484</c:v>
                </c:pt>
                <c:pt idx="349">
                  <c:v>118581</c:v>
                </c:pt>
                <c:pt idx="350">
                  <c:v>118656</c:v>
                </c:pt>
                <c:pt idx="351">
                  <c:v>118738</c:v>
                </c:pt>
                <c:pt idx="352">
                  <c:v>118752</c:v>
                </c:pt>
                <c:pt idx="353">
                  <c:v>118763</c:v>
                </c:pt>
                <c:pt idx="354">
                  <c:v>118849</c:v>
                </c:pt>
                <c:pt idx="355">
                  <c:v>118911</c:v>
                </c:pt>
                <c:pt idx="356">
                  <c:v>118991</c:v>
                </c:pt>
                <c:pt idx="357">
                  <c:v>119072</c:v>
                </c:pt>
                <c:pt idx="358">
                  <c:v>119156</c:v>
                </c:pt>
                <c:pt idx="359">
                  <c:v>119181</c:v>
                </c:pt>
                <c:pt idx="360">
                  <c:v>119185</c:v>
                </c:pt>
                <c:pt idx="361">
                  <c:v>119243</c:v>
                </c:pt>
                <c:pt idx="362">
                  <c:v>119283</c:v>
                </c:pt>
                <c:pt idx="363">
                  <c:v>119322</c:v>
                </c:pt>
                <c:pt idx="364">
                  <c:v>119342</c:v>
                </c:pt>
                <c:pt idx="365">
                  <c:v>119342</c:v>
                </c:pt>
                <c:pt idx="366">
                  <c:v>119369</c:v>
                </c:pt>
                <c:pt idx="367">
                  <c:v>119405</c:v>
                </c:pt>
                <c:pt idx="368">
                  <c:v>119444</c:v>
                </c:pt>
                <c:pt idx="369">
                  <c:v>119477</c:v>
                </c:pt>
                <c:pt idx="370">
                  <c:v>119480</c:v>
                </c:pt>
                <c:pt idx="371">
                  <c:v>119483</c:v>
                </c:pt>
                <c:pt idx="372">
                  <c:v>119529</c:v>
                </c:pt>
                <c:pt idx="373">
                  <c:v>119560</c:v>
                </c:pt>
                <c:pt idx="374">
                  <c:v>119619</c:v>
                </c:pt>
                <c:pt idx="375">
                  <c:v>119674</c:v>
                </c:pt>
                <c:pt idx="376">
                  <c:v>119760</c:v>
                </c:pt>
                <c:pt idx="377">
                  <c:v>119768</c:v>
                </c:pt>
                <c:pt idx="378">
                  <c:v>119773</c:v>
                </c:pt>
                <c:pt idx="379">
                  <c:v>119813</c:v>
                </c:pt>
                <c:pt idx="380">
                  <c:v>119863</c:v>
                </c:pt>
                <c:pt idx="381">
                  <c:v>119911</c:v>
                </c:pt>
                <c:pt idx="382">
                  <c:v>119970</c:v>
                </c:pt>
                <c:pt idx="383">
                  <c:v>120054</c:v>
                </c:pt>
                <c:pt idx="384">
                  <c:v>120068</c:v>
                </c:pt>
                <c:pt idx="385">
                  <c:v>120074</c:v>
                </c:pt>
                <c:pt idx="386">
                  <c:v>120119</c:v>
                </c:pt>
                <c:pt idx="387">
                  <c:v>120168</c:v>
                </c:pt>
                <c:pt idx="388">
                  <c:v>120207</c:v>
                </c:pt>
                <c:pt idx="389">
                  <c:v>120236</c:v>
                </c:pt>
                <c:pt idx="390">
                  <c:v>120273</c:v>
                </c:pt>
                <c:pt idx="391">
                  <c:v>120276</c:v>
                </c:pt>
                <c:pt idx="392">
                  <c:v>120279</c:v>
                </c:pt>
                <c:pt idx="393">
                  <c:v>120294</c:v>
                </c:pt>
                <c:pt idx="394">
                  <c:v>120311</c:v>
                </c:pt>
                <c:pt idx="395">
                  <c:v>120327</c:v>
                </c:pt>
                <c:pt idx="396">
                  <c:v>120345</c:v>
                </c:pt>
                <c:pt idx="397">
                  <c:v>120374</c:v>
                </c:pt>
                <c:pt idx="398">
                  <c:v>120381</c:v>
                </c:pt>
                <c:pt idx="399">
                  <c:v>120382</c:v>
                </c:pt>
                <c:pt idx="400">
                  <c:v>120394</c:v>
                </c:pt>
                <c:pt idx="401">
                  <c:v>120402</c:v>
                </c:pt>
                <c:pt idx="402">
                  <c:v>120412</c:v>
                </c:pt>
                <c:pt idx="403">
                  <c:v>120422</c:v>
                </c:pt>
                <c:pt idx="404">
                  <c:v>120438</c:v>
                </c:pt>
                <c:pt idx="405">
                  <c:v>120439</c:v>
                </c:pt>
                <c:pt idx="406">
                  <c:v>120439</c:v>
                </c:pt>
                <c:pt idx="407">
                  <c:v>120445</c:v>
                </c:pt>
                <c:pt idx="408">
                  <c:v>120448</c:v>
                </c:pt>
                <c:pt idx="409">
                  <c:v>120451</c:v>
                </c:pt>
                <c:pt idx="410">
                  <c:v>120458</c:v>
                </c:pt>
                <c:pt idx="411">
                  <c:v>120464</c:v>
                </c:pt>
                <c:pt idx="412">
                  <c:v>120464</c:v>
                </c:pt>
                <c:pt idx="413">
                  <c:v>120468</c:v>
                </c:pt>
                <c:pt idx="414">
                  <c:v>120472</c:v>
                </c:pt>
                <c:pt idx="415">
                  <c:v>120473</c:v>
                </c:pt>
                <c:pt idx="416">
                  <c:v>120476</c:v>
                </c:pt>
                <c:pt idx="417">
                  <c:v>120478</c:v>
                </c:pt>
                <c:pt idx="418">
                  <c:v>120478</c:v>
                </c:pt>
                <c:pt idx="419">
                  <c:v>120482</c:v>
                </c:pt>
                <c:pt idx="420">
                  <c:v>120482</c:v>
                </c:pt>
                <c:pt idx="421">
                  <c:v>120484</c:v>
                </c:pt>
                <c:pt idx="422">
                  <c:v>120488</c:v>
                </c:pt>
                <c:pt idx="423">
                  <c:v>120491</c:v>
                </c:pt>
                <c:pt idx="424">
                  <c:v>120491</c:v>
                </c:pt>
                <c:pt idx="425">
                  <c:v>120495</c:v>
                </c:pt>
                <c:pt idx="426">
                  <c:v>120497</c:v>
                </c:pt>
                <c:pt idx="427">
                  <c:v>120499</c:v>
                </c:pt>
                <c:pt idx="428">
                  <c:v>120509</c:v>
                </c:pt>
                <c:pt idx="429">
                  <c:v>120510</c:v>
                </c:pt>
                <c:pt idx="430">
                  <c:v>120511</c:v>
                </c:pt>
                <c:pt idx="431">
                  <c:v>120511</c:v>
                </c:pt>
                <c:pt idx="432">
                  <c:v>120519</c:v>
                </c:pt>
                <c:pt idx="433">
                  <c:v>120522</c:v>
                </c:pt>
                <c:pt idx="434">
                  <c:v>120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F$1:$PX$1</c:f>
              <c:strCache>
                <c:ptCount val="435"/>
                <c:pt idx="0">
                  <c:v>24-XII.20</c:v>
                </c:pt>
                <c:pt idx="1">
                  <c:v>25-XII.20</c:v>
                </c:pt>
                <c:pt idx="2">
                  <c:v>26-XII.20</c:v>
                </c:pt>
                <c:pt idx="3">
                  <c:v>27.XII.20</c:v>
                </c:pt>
                <c:pt idx="4">
                  <c:v>28.XII.20</c:v>
                </c:pt>
                <c:pt idx="5">
                  <c:v>29.XII.20</c:v>
                </c:pt>
                <c:pt idx="6">
                  <c:v>30.XII.20</c:v>
                </c:pt>
                <c:pt idx="7">
                  <c:v>31.XII.20</c:v>
                </c:pt>
                <c:pt idx="8">
                  <c:v>1.I.21</c:v>
                </c:pt>
                <c:pt idx="9">
                  <c:v>2.I.21</c:v>
                </c:pt>
                <c:pt idx="10">
                  <c:v>3.I.21</c:v>
                </c:pt>
                <c:pt idx="11">
                  <c:v>4.I.21</c:v>
                </c:pt>
                <c:pt idx="12">
                  <c:v>5.I.21</c:v>
                </c:pt>
                <c:pt idx="13">
                  <c:v>6.I.21</c:v>
                </c:pt>
                <c:pt idx="14">
                  <c:v>7.I.21</c:v>
                </c:pt>
                <c:pt idx="15">
                  <c:v>8.I.21</c:v>
                </c:pt>
                <c:pt idx="16">
                  <c:v>9.I.21</c:v>
                </c:pt>
                <c:pt idx="17">
                  <c:v>10.I.21</c:v>
                </c:pt>
                <c:pt idx="18">
                  <c:v>11.I.21</c:v>
                </c:pt>
                <c:pt idx="19">
                  <c:v>12.I.21</c:v>
                </c:pt>
                <c:pt idx="20">
                  <c:v>13.I.21</c:v>
                </c:pt>
                <c:pt idx="21">
                  <c:v>14.I.21</c:v>
                </c:pt>
                <c:pt idx="22">
                  <c:v>15.I.21</c:v>
                </c:pt>
                <c:pt idx="23">
                  <c:v>16.I.21</c:v>
                </c:pt>
                <c:pt idx="24">
                  <c:v>17.I.21</c:v>
                </c:pt>
                <c:pt idx="25">
                  <c:v>18.I.21</c:v>
                </c:pt>
                <c:pt idx="26">
                  <c:v>19.I.21</c:v>
                </c:pt>
                <c:pt idx="27">
                  <c:v>20.I.21</c:v>
                </c:pt>
                <c:pt idx="28">
                  <c:v>21.I.21</c:v>
                </c:pt>
                <c:pt idx="29">
                  <c:v>22.I.21</c:v>
                </c:pt>
                <c:pt idx="30">
                  <c:v>23.I.21</c:v>
                </c:pt>
                <c:pt idx="31">
                  <c:v>24.I.21</c:v>
                </c:pt>
                <c:pt idx="32">
                  <c:v>25.I.21</c:v>
                </c:pt>
                <c:pt idx="33">
                  <c:v>26.I.21</c:v>
                </c:pt>
                <c:pt idx="34">
                  <c:v>27.I.21</c:v>
                </c:pt>
                <c:pt idx="35">
                  <c:v>28.I.21</c:v>
                </c:pt>
                <c:pt idx="36">
                  <c:v>29.I.21</c:v>
                </c:pt>
                <c:pt idx="37">
                  <c:v>30.I.21</c:v>
                </c:pt>
                <c:pt idx="38">
                  <c:v>31.I.21</c:v>
                </c:pt>
                <c:pt idx="39">
                  <c:v>1.II.21</c:v>
                </c:pt>
                <c:pt idx="40">
                  <c:v>2.II.21</c:v>
                </c:pt>
                <c:pt idx="41">
                  <c:v>3.II.21</c:v>
                </c:pt>
                <c:pt idx="42">
                  <c:v>4.II.21</c:v>
                </c:pt>
                <c:pt idx="43">
                  <c:v>5.II.21</c:v>
                </c:pt>
                <c:pt idx="44">
                  <c:v>6.II.21</c:v>
                </c:pt>
                <c:pt idx="45">
                  <c:v>7.II.21</c:v>
                </c:pt>
                <c:pt idx="46">
                  <c:v>8.II.21</c:v>
                </c:pt>
                <c:pt idx="47">
                  <c:v>9.II.21</c:v>
                </c:pt>
                <c:pt idx="48">
                  <c:v>10.II.21</c:v>
                </c:pt>
                <c:pt idx="49">
                  <c:v>11.II.21</c:v>
                </c:pt>
                <c:pt idx="50">
                  <c:v>12.II.21</c:v>
                </c:pt>
                <c:pt idx="51">
                  <c:v>13.II.21</c:v>
                </c:pt>
                <c:pt idx="52">
                  <c:v>14.II.21</c:v>
                </c:pt>
                <c:pt idx="53">
                  <c:v>15.II.21</c:v>
                </c:pt>
                <c:pt idx="54">
                  <c:v>16.II.21</c:v>
                </c:pt>
                <c:pt idx="55">
                  <c:v>17.II.21</c:v>
                </c:pt>
                <c:pt idx="56">
                  <c:v>18.II.21</c:v>
                </c:pt>
                <c:pt idx="57">
                  <c:v>19.II.21</c:v>
                </c:pt>
                <c:pt idx="58">
                  <c:v>20.II.21</c:v>
                </c:pt>
                <c:pt idx="59">
                  <c:v>21.II.21</c:v>
                </c:pt>
                <c:pt idx="60">
                  <c:v>22.II.21</c:v>
                </c:pt>
                <c:pt idx="61">
                  <c:v>23.II.21</c:v>
                </c:pt>
                <c:pt idx="62">
                  <c:v>24.II.21</c:v>
                </c:pt>
                <c:pt idx="63">
                  <c:v>25.II.21</c:v>
                </c:pt>
                <c:pt idx="64">
                  <c:v>26.II.21</c:v>
                </c:pt>
                <c:pt idx="65">
                  <c:v>27.II.21</c:v>
                </c:pt>
                <c:pt idx="66">
                  <c:v>28.II.21</c:v>
                </c:pt>
                <c:pt idx="67">
                  <c:v>1.III.21</c:v>
                </c:pt>
                <c:pt idx="68">
                  <c:v>2.III.21</c:v>
                </c:pt>
                <c:pt idx="69">
                  <c:v>3.III.21</c:v>
                </c:pt>
                <c:pt idx="70">
                  <c:v>4.III.21</c:v>
                </c:pt>
                <c:pt idx="71">
                  <c:v>5.III.21</c:v>
                </c:pt>
                <c:pt idx="72">
                  <c:v>6.III.21</c:v>
                </c:pt>
                <c:pt idx="73">
                  <c:v>7.III.21</c:v>
                </c:pt>
                <c:pt idx="74">
                  <c:v>8.III.21</c:v>
                </c:pt>
                <c:pt idx="75">
                  <c:v>9.III.21</c:v>
                </c:pt>
                <c:pt idx="76">
                  <c:v>10.III.21</c:v>
                </c:pt>
                <c:pt idx="77">
                  <c:v>11.III.21</c:v>
                </c:pt>
                <c:pt idx="78">
                  <c:v>12.III.21</c:v>
                </c:pt>
                <c:pt idx="79">
                  <c:v>13.III.21</c:v>
                </c:pt>
                <c:pt idx="80">
                  <c:v>14.III.21</c:v>
                </c:pt>
                <c:pt idx="81">
                  <c:v>15.III.21</c:v>
                </c:pt>
                <c:pt idx="82">
                  <c:v>16.III.21</c:v>
                </c:pt>
                <c:pt idx="83">
                  <c:v>17.III.21</c:v>
                </c:pt>
                <c:pt idx="84">
                  <c:v>18.III.21</c:v>
                </c:pt>
                <c:pt idx="85">
                  <c:v>19.III.21</c:v>
                </c:pt>
                <c:pt idx="86">
                  <c:v>20.III.21</c:v>
                </c:pt>
                <c:pt idx="87">
                  <c:v>21.III.21</c:v>
                </c:pt>
                <c:pt idx="88">
                  <c:v>22.III.21</c:v>
                </c:pt>
                <c:pt idx="89">
                  <c:v>23.III.21</c:v>
                </c:pt>
                <c:pt idx="90">
                  <c:v>24.III.21</c:v>
                </c:pt>
                <c:pt idx="91">
                  <c:v>25.III.21</c:v>
                </c:pt>
                <c:pt idx="92">
                  <c:v>26.III.21</c:v>
                </c:pt>
                <c:pt idx="93">
                  <c:v>27.III.21</c:v>
                </c:pt>
                <c:pt idx="94">
                  <c:v>28.III.21</c:v>
                </c:pt>
                <c:pt idx="95">
                  <c:v>29.III.21</c:v>
                </c:pt>
                <c:pt idx="96">
                  <c:v>30.III.21</c:v>
                </c:pt>
                <c:pt idx="97">
                  <c:v>31.III.21</c:v>
                </c:pt>
                <c:pt idx="98">
                  <c:v>1.IV.21</c:v>
                </c:pt>
                <c:pt idx="99">
                  <c:v>2.IV.21</c:v>
                </c:pt>
                <c:pt idx="100">
                  <c:v>3.IV.21</c:v>
                </c:pt>
                <c:pt idx="101">
                  <c:v>4.IV.21</c:v>
                </c:pt>
                <c:pt idx="102">
                  <c:v>5.IV.21</c:v>
                </c:pt>
                <c:pt idx="103">
                  <c:v>6.IV.21</c:v>
                </c:pt>
                <c:pt idx="104">
                  <c:v>7.IV.21</c:v>
                </c:pt>
                <c:pt idx="105">
                  <c:v>8.IV.21</c:v>
                </c:pt>
                <c:pt idx="106">
                  <c:v>9.IV.21</c:v>
                </c:pt>
                <c:pt idx="107">
                  <c:v>10.IV.21</c:v>
                </c:pt>
                <c:pt idx="108">
                  <c:v>11.IV.21</c:v>
                </c:pt>
                <c:pt idx="109">
                  <c:v>12.IV.21</c:v>
                </c:pt>
                <c:pt idx="110">
                  <c:v>13.IV.21</c:v>
                </c:pt>
                <c:pt idx="111">
                  <c:v>14.IV.21</c:v>
                </c:pt>
                <c:pt idx="112">
                  <c:v>15.IV.21</c:v>
                </c:pt>
                <c:pt idx="113">
                  <c:v>16.IV.21</c:v>
                </c:pt>
                <c:pt idx="114">
                  <c:v>17.IV.21</c:v>
                </c:pt>
                <c:pt idx="115">
                  <c:v>18.IV.21</c:v>
                </c:pt>
                <c:pt idx="116">
                  <c:v>19.IV.21</c:v>
                </c:pt>
                <c:pt idx="117">
                  <c:v>20.IV.21</c:v>
                </c:pt>
                <c:pt idx="118">
                  <c:v>21.IV.21</c:v>
                </c:pt>
                <c:pt idx="119">
                  <c:v>22.IV.21</c:v>
                </c:pt>
                <c:pt idx="120">
                  <c:v>23.IV.21</c:v>
                </c:pt>
                <c:pt idx="121">
                  <c:v>24.IV.21</c:v>
                </c:pt>
                <c:pt idx="122">
                  <c:v>25.IV.21</c:v>
                </c:pt>
                <c:pt idx="123">
                  <c:v>26.IV.21</c:v>
                </c:pt>
                <c:pt idx="124">
                  <c:v>27.IV.21</c:v>
                </c:pt>
                <c:pt idx="125">
                  <c:v>28.IV.21</c:v>
                </c:pt>
                <c:pt idx="126">
                  <c:v>29.IV.21</c:v>
                </c:pt>
                <c:pt idx="127">
                  <c:v>30.IV.21</c:v>
                </c:pt>
                <c:pt idx="128">
                  <c:v>1.V.21</c:v>
                </c:pt>
                <c:pt idx="129">
                  <c:v>2.V.21</c:v>
                </c:pt>
                <c:pt idx="130">
                  <c:v>3.V.21</c:v>
                </c:pt>
                <c:pt idx="131">
                  <c:v>4.V.21</c:v>
                </c:pt>
                <c:pt idx="132">
                  <c:v>5.V.21</c:v>
                </c:pt>
                <c:pt idx="133">
                  <c:v>6.V.21</c:v>
                </c:pt>
                <c:pt idx="134">
                  <c:v>7.V.21</c:v>
                </c:pt>
                <c:pt idx="135">
                  <c:v>8.V.21</c:v>
                </c:pt>
                <c:pt idx="136">
                  <c:v>9.V.21</c:v>
                </c:pt>
                <c:pt idx="137">
                  <c:v>10.V.21</c:v>
                </c:pt>
                <c:pt idx="138">
                  <c:v>11.V.21</c:v>
                </c:pt>
                <c:pt idx="139">
                  <c:v>12.V.21</c:v>
                </c:pt>
                <c:pt idx="140">
                  <c:v>13.V.21</c:v>
                </c:pt>
                <c:pt idx="141">
                  <c:v>14.V.21</c:v>
                </c:pt>
                <c:pt idx="142">
                  <c:v>15.V.21</c:v>
                </c:pt>
                <c:pt idx="143">
                  <c:v>16.V.21</c:v>
                </c:pt>
                <c:pt idx="144">
                  <c:v>17.V.21</c:v>
                </c:pt>
                <c:pt idx="145">
                  <c:v>18.V.21</c:v>
                </c:pt>
                <c:pt idx="146">
                  <c:v>19.V.21</c:v>
                </c:pt>
                <c:pt idx="147">
                  <c:v>20.V.21</c:v>
                </c:pt>
                <c:pt idx="148">
                  <c:v>21.V.21</c:v>
                </c:pt>
                <c:pt idx="149">
                  <c:v>22.V.21</c:v>
                </c:pt>
                <c:pt idx="150">
                  <c:v>23.V.21</c:v>
                </c:pt>
                <c:pt idx="151">
                  <c:v>24.V.21</c:v>
                </c:pt>
                <c:pt idx="152">
                  <c:v>25.V.21</c:v>
                </c:pt>
                <c:pt idx="153">
                  <c:v>26.V.21</c:v>
                </c:pt>
                <c:pt idx="154">
                  <c:v>27.V.21</c:v>
                </c:pt>
                <c:pt idx="155">
                  <c:v>28.V.21</c:v>
                </c:pt>
                <c:pt idx="156">
                  <c:v>29.V.21</c:v>
                </c:pt>
                <c:pt idx="157">
                  <c:v>30.V.21</c:v>
                </c:pt>
                <c:pt idx="158">
                  <c:v>31.V.21</c:v>
                </c:pt>
                <c:pt idx="159">
                  <c:v>1.VI.21</c:v>
                </c:pt>
                <c:pt idx="160">
                  <c:v>2.VI.21</c:v>
                </c:pt>
                <c:pt idx="161">
                  <c:v>3.VI.21</c:v>
                </c:pt>
                <c:pt idx="162">
                  <c:v>4.VI.21</c:v>
                </c:pt>
                <c:pt idx="163">
                  <c:v>5.VI.21</c:v>
                </c:pt>
                <c:pt idx="164">
                  <c:v>6.VI.21</c:v>
                </c:pt>
                <c:pt idx="165">
                  <c:v>7.VI.21</c:v>
                </c:pt>
                <c:pt idx="166">
                  <c:v>8.VI.21</c:v>
                </c:pt>
                <c:pt idx="167">
                  <c:v>9.VI.21</c:v>
                </c:pt>
                <c:pt idx="168">
                  <c:v>10.VI.21</c:v>
                </c:pt>
                <c:pt idx="169">
                  <c:v>11.VI.21</c:v>
                </c:pt>
                <c:pt idx="170">
                  <c:v>12.VI.21</c:v>
                </c:pt>
                <c:pt idx="171">
                  <c:v>13.VI.21</c:v>
                </c:pt>
                <c:pt idx="172">
                  <c:v>14.VI.21</c:v>
                </c:pt>
                <c:pt idx="173">
                  <c:v>15.VI.21</c:v>
                </c:pt>
                <c:pt idx="174">
                  <c:v>16.VI.21</c:v>
                </c:pt>
                <c:pt idx="175">
                  <c:v>17.VI.21</c:v>
                </c:pt>
                <c:pt idx="176">
                  <c:v>18.VI.21</c:v>
                </c:pt>
                <c:pt idx="177">
                  <c:v>19.VI.21</c:v>
                </c:pt>
                <c:pt idx="178">
                  <c:v>20.VI.21</c:v>
                </c:pt>
                <c:pt idx="179">
                  <c:v>21.VI.21</c:v>
                </c:pt>
                <c:pt idx="180">
                  <c:v>22.VI.21</c:v>
                </c:pt>
                <c:pt idx="181">
                  <c:v>23.VI.21</c:v>
                </c:pt>
                <c:pt idx="182">
                  <c:v>24.VI.21</c:v>
                </c:pt>
                <c:pt idx="183">
                  <c:v>25.VI.21</c:v>
                </c:pt>
                <c:pt idx="184">
                  <c:v>26.VI.21</c:v>
                </c:pt>
                <c:pt idx="185">
                  <c:v>27.VI.21</c:v>
                </c:pt>
                <c:pt idx="186">
                  <c:v>28.VI.21</c:v>
                </c:pt>
                <c:pt idx="187">
                  <c:v>29.VI.21</c:v>
                </c:pt>
                <c:pt idx="188">
                  <c:v>30.VI.21</c:v>
                </c:pt>
                <c:pt idx="189">
                  <c:v>1.VII.21</c:v>
                </c:pt>
                <c:pt idx="190">
                  <c:v>2.VII.21</c:v>
                </c:pt>
                <c:pt idx="191">
                  <c:v>3.VII.21</c:v>
                </c:pt>
                <c:pt idx="192">
                  <c:v>4.VII.21</c:v>
                </c:pt>
                <c:pt idx="193">
                  <c:v>5.VII.21</c:v>
                </c:pt>
                <c:pt idx="194">
                  <c:v>6.VII.21</c:v>
                </c:pt>
                <c:pt idx="195">
                  <c:v>7.VII.21</c:v>
                </c:pt>
                <c:pt idx="196">
                  <c:v>8.VII.21</c:v>
                </c:pt>
                <c:pt idx="197">
                  <c:v>9.VII.21</c:v>
                </c:pt>
                <c:pt idx="198">
                  <c:v>10.VII.21</c:v>
                </c:pt>
                <c:pt idx="199">
                  <c:v>11.VII.21</c:v>
                </c:pt>
                <c:pt idx="200">
                  <c:v>12.VII.21</c:v>
                </c:pt>
                <c:pt idx="201">
                  <c:v>13.VII.21</c:v>
                </c:pt>
                <c:pt idx="202">
                  <c:v>14.VII.21</c:v>
                </c:pt>
                <c:pt idx="203">
                  <c:v>15.VII.21</c:v>
                </c:pt>
                <c:pt idx="204">
                  <c:v>16.VII.21</c:v>
                </c:pt>
                <c:pt idx="205">
                  <c:v>17.VII.21</c:v>
                </c:pt>
                <c:pt idx="206">
                  <c:v>18.VII.21</c:v>
                </c:pt>
                <c:pt idx="207">
                  <c:v>19.VII.21</c:v>
                </c:pt>
                <c:pt idx="208">
                  <c:v>20.VII.21</c:v>
                </c:pt>
                <c:pt idx="209">
                  <c:v>21.VII.21</c:v>
                </c:pt>
                <c:pt idx="210">
                  <c:v>22.VII.21</c:v>
                </c:pt>
                <c:pt idx="211">
                  <c:v>23.VII.21</c:v>
                </c:pt>
                <c:pt idx="212">
                  <c:v>24.VII.21</c:v>
                </c:pt>
                <c:pt idx="213">
                  <c:v>25.VII.21</c:v>
                </c:pt>
                <c:pt idx="214">
                  <c:v>26.VII.21</c:v>
                </c:pt>
                <c:pt idx="215">
                  <c:v>27.VII.21</c:v>
                </c:pt>
                <c:pt idx="216">
                  <c:v>28.VII.21</c:v>
                </c:pt>
                <c:pt idx="217">
                  <c:v>29.VII.21</c:v>
                </c:pt>
                <c:pt idx="218">
                  <c:v>30.VII.21</c:v>
                </c:pt>
                <c:pt idx="219">
                  <c:v>31.VII.21</c:v>
                </c:pt>
                <c:pt idx="220">
                  <c:v>1.VIII.21</c:v>
                </c:pt>
                <c:pt idx="221">
                  <c:v>2.VIII.21</c:v>
                </c:pt>
                <c:pt idx="222">
                  <c:v>3.VIII.21</c:v>
                </c:pt>
                <c:pt idx="223">
                  <c:v>4.VIII.21</c:v>
                </c:pt>
                <c:pt idx="224">
                  <c:v>5.VIII.21</c:v>
                </c:pt>
                <c:pt idx="225">
                  <c:v>6.VIII.21</c:v>
                </c:pt>
                <c:pt idx="226">
                  <c:v>7.VIII.21</c:v>
                </c:pt>
                <c:pt idx="227">
                  <c:v>8.VIII.21</c:v>
                </c:pt>
                <c:pt idx="228">
                  <c:v>9.VIII.21</c:v>
                </c:pt>
                <c:pt idx="229">
                  <c:v>10.VIII.21</c:v>
                </c:pt>
                <c:pt idx="230">
                  <c:v>11.VIII.21</c:v>
                </c:pt>
                <c:pt idx="231">
                  <c:v>12.VIII.21</c:v>
                </c:pt>
                <c:pt idx="232">
                  <c:v>13.VIII.21</c:v>
                </c:pt>
                <c:pt idx="233">
                  <c:v>14.VIII.21</c:v>
                </c:pt>
                <c:pt idx="234">
                  <c:v>15.VIII.21</c:v>
                </c:pt>
                <c:pt idx="235">
                  <c:v>16.VIII.21</c:v>
                </c:pt>
                <c:pt idx="236">
                  <c:v>17.VIII.21</c:v>
                </c:pt>
                <c:pt idx="237">
                  <c:v>18.VIII.21</c:v>
                </c:pt>
                <c:pt idx="238">
                  <c:v>19.VIII.21</c:v>
                </c:pt>
                <c:pt idx="239">
                  <c:v>20.VIII.21</c:v>
                </c:pt>
                <c:pt idx="240">
                  <c:v>21.VIII.21</c:v>
                </c:pt>
                <c:pt idx="241">
                  <c:v>22.VIII.21</c:v>
                </c:pt>
                <c:pt idx="242">
                  <c:v>23.VIII.21</c:v>
                </c:pt>
                <c:pt idx="243">
                  <c:v>24.VIII.21</c:v>
                </c:pt>
                <c:pt idx="244">
                  <c:v>25.VIII.21</c:v>
                </c:pt>
                <c:pt idx="245">
                  <c:v>26.VIII.21</c:v>
                </c:pt>
                <c:pt idx="246">
                  <c:v>27.VIII.21</c:v>
                </c:pt>
                <c:pt idx="247">
                  <c:v>28.VIII.21</c:v>
                </c:pt>
                <c:pt idx="248">
                  <c:v>29.VIII.21</c:v>
                </c:pt>
                <c:pt idx="249">
                  <c:v>30.VIII.21</c:v>
                </c:pt>
                <c:pt idx="250">
                  <c:v>31.VIII.21</c:v>
                </c:pt>
                <c:pt idx="251">
                  <c:v>1.IX.21</c:v>
                </c:pt>
                <c:pt idx="252">
                  <c:v>2.IX.21</c:v>
                </c:pt>
                <c:pt idx="253">
                  <c:v>3.IX.21</c:v>
                </c:pt>
                <c:pt idx="254">
                  <c:v>4.IX.21</c:v>
                </c:pt>
                <c:pt idx="255">
                  <c:v>5.IX.21</c:v>
                </c:pt>
                <c:pt idx="256">
                  <c:v>6.IX.21</c:v>
                </c:pt>
                <c:pt idx="257">
                  <c:v>7.IX.21</c:v>
                </c:pt>
                <c:pt idx="258">
                  <c:v>8.IX.21</c:v>
                </c:pt>
                <c:pt idx="259">
                  <c:v>9.IX.21</c:v>
                </c:pt>
                <c:pt idx="260">
                  <c:v>10.IX.21</c:v>
                </c:pt>
                <c:pt idx="261">
                  <c:v>11.IX.21</c:v>
                </c:pt>
                <c:pt idx="262">
                  <c:v>12.IX.21</c:v>
                </c:pt>
                <c:pt idx="263">
                  <c:v>13.IX.21</c:v>
                </c:pt>
                <c:pt idx="264">
                  <c:v>14.IX.21</c:v>
                </c:pt>
                <c:pt idx="265">
                  <c:v>15.IX.21</c:v>
                </c:pt>
                <c:pt idx="266">
                  <c:v>16.IX.21</c:v>
                </c:pt>
                <c:pt idx="267">
                  <c:v>17.IX.21</c:v>
                </c:pt>
                <c:pt idx="268">
                  <c:v>18.IX.21</c:v>
                </c:pt>
                <c:pt idx="269">
                  <c:v>19.IX.21</c:v>
                </c:pt>
                <c:pt idx="270">
                  <c:v>20.IX.21</c:v>
                </c:pt>
                <c:pt idx="271">
                  <c:v>21.IX.21</c:v>
                </c:pt>
                <c:pt idx="272">
                  <c:v>22.IX.21</c:v>
                </c:pt>
                <c:pt idx="273">
                  <c:v>23.IX.21</c:v>
                </c:pt>
                <c:pt idx="274">
                  <c:v>24.IX.21</c:v>
                </c:pt>
                <c:pt idx="275">
                  <c:v>25.IX.21</c:v>
                </c:pt>
                <c:pt idx="276">
                  <c:v>26.IX.21</c:v>
                </c:pt>
                <c:pt idx="277">
                  <c:v>27.IX.21</c:v>
                </c:pt>
                <c:pt idx="278">
                  <c:v>28.IX.21</c:v>
                </c:pt>
                <c:pt idx="279">
                  <c:v>29.IX.21</c:v>
                </c:pt>
                <c:pt idx="280">
                  <c:v>30.IX.21</c:v>
                </c:pt>
                <c:pt idx="281">
                  <c:v>1.X.21</c:v>
                </c:pt>
                <c:pt idx="282">
                  <c:v>2.X.21</c:v>
                </c:pt>
                <c:pt idx="283">
                  <c:v>3.X.21</c:v>
                </c:pt>
                <c:pt idx="284">
                  <c:v>4.X.21</c:v>
                </c:pt>
                <c:pt idx="285">
                  <c:v>5.X.21</c:v>
                </c:pt>
                <c:pt idx="286">
                  <c:v>6.X.21</c:v>
                </c:pt>
                <c:pt idx="287">
                  <c:v>7.X.21</c:v>
                </c:pt>
                <c:pt idx="288">
                  <c:v>8.X.21</c:v>
                </c:pt>
                <c:pt idx="289">
                  <c:v>9.X.21</c:v>
                </c:pt>
                <c:pt idx="290">
                  <c:v>10.X.21</c:v>
                </c:pt>
                <c:pt idx="291">
                  <c:v>11.X.21</c:v>
                </c:pt>
                <c:pt idx="292">
                  <c:v>12.X.21</c:v>
                </c:pt>
                <c:pt idx="293">
                  <c:v>13.X.21</c:v>
                </c:pt>
                <c:pt idx="294">
                  <c:v>14.X.21</c:v>
                </c:pt>
                <c:pt idx="295">
                  <c:v>15.X.21</c:v>
                </c:pt>
                <c:pt idx="296">
                  <c:v>16.X.21</c:v>
                </c:pt>
                <c:pt idx="297">
                  <c:v>17.X.21</c:v>
                </c:pt>
                <c:pt idx="298">
                  <c:v>18.X.21</c:v>
                </c:pt>
                <c:pt idx="299">
                  <c:v>19.X.21</c:v>
                </c:pt>
                <c:pt idx="300">
                  <c:v>20.X.21</c:v>
                </c:pt>
                <c:pt idx="301">
                  <c:v>21.X.21</c:v>
                </c:pt>
                <c:pt idx="302">
                  <c:v>22.X.21</c:v>
                </c:pt>
                <c:pt idx="303">
                  <c:v>23.X.21</c:v>
                </c:pt>
                <c:pt idx="304">
                  <c:v>24.X.21</c:v>
                </c:pt>
                <c:pt idx="305">
                  <c:v>25.X.21</c:v>
                </c:pt>
                <c:pt idx="306">
                  <c:v>26.X.21</c:v>
                </c:pt>
                <c:pt idx="307">
                  <c:v>27.X.21</c:v>
                </c:pt>
                <c:pt idx="308">
                  <c:v>28.X.21</c:v>
                </c:pt>
                <c:pt idx="309">
                  <c:v>29.X.21</c:v>
                </c:pt>
                <c:pt idx="310">
                  <c:v>30.X.21</c:v>
                </c:pt>
                <c:pt idx="311">
                  <c:v>31.X.21</c:v>
                </c:pt>
                <c:pt idx="312">
                  <c:v>1.XI.21</c:v>
                </c:pt>
                <c:pt idx="313">
                  <c:v>2.XI.21</c:v>
                </c:pt>
                <c:pt idx="314">
                  <c:v>3.XI.21</c:v>
                </c:pt>
                <c:pt idx="315">
                  <c:v>4.XI.21</c:v>
                </c:pt>
                <c:pt idx="316">
                  <c:v>5.XI.21</c:v>
                </c:pt>
                <c:pt idx="317">
                  <c:v>6.XI.21</c:v>
                </c:pt>
                <c:pt idx="318">
                  <c:v>7.XI.21</c:v>
                </c:pt>
                <c:pt idx="319">
                  <c:v>8.XI.21</c:v>
                </c:pt>
                <c:pt idx="320">
                  <c:v>9.XI.21</c:v>
                </c:pt>
                <c:pt idx="321">
                  <c:v>10.XI.21</c:v>
                </c:pt>
                <c:pt idx="322">
                  <c:v>11.XI.21</c:v>
                </c:pt>
                <c:pt idx="323">
                  <c:v>12.XI.21</c:v>
                </c:pt>
                <c:pt idx="324">
                  <c:v>13.XI.21</c:v>
                </c:pt>
                <c:pt idx="325">
                  <c:v>14.XI.21</c:v>
                </c:pt>
                <c:pt idx="326">
                  <c:v>15.XI.21</c:v>
                </c:pt>
                <c:pt idx="327">
                  <c:v>16.XI.21</c:v>
                </c:pt>
                <c:pt idx="328">
                  <c:v>17.XI.21</c:v>
                </c:pt>
                <c:pt idx="329">
                  <c:v>18.XI.21</c:v>
                </c:pt>
                <c:pt idx="330">
                  <c:v>19.XI.21</c:v>
                </c:pt>
                <c:pt idx="331">
                  <c:v>20.XI.21</c:v>
                </c:pt>
                <c:pt idx="332">
                  <c:v>21.XI.21</c:v>
                </c:pt>
                <c:pt idx="333">
                  <c:v>22.XI.21</c:v>
                </c:pt>
                <c:pt idx="334">
                  <c:v>23.XI.21</c:v>
                </c:pt>
                <c:pt idx="335">
                  <c:v>24.XI.21</c:v>
                </c:pt>
                <c:pt idx="336">
                  <c:v>25.XI.21</c:v>
                </c:pt>
                <c:pt idx="337">
                  <c:v>26.XI.21</c:v>
                </c:pt>
                <c:pt idx="338">
                  <c:v>27.XI.21</c:v>
                </c:pt>
                <c:pt idx="339">
                  <c:v>28.XI.21</c:v>
                </c:pt>
                <c:pt idx="340">
                  <c:v>29.XI.21</c:v>
                </c:pt>
                <c:pt idx="341">
                  <c:v>30.XI.21</c:v>
                </c:pt>
                <c:pt idx="342">
                  <c:v>1.XII.21</c:v>
                </c:pt>
                <c:pt idx="343">
                  <c:v>2.XII.21</c:v>
                </c:pt>
                <c:pt idx="344">
                  <c:v>3.XII.21</c:v>
                </c:pt>
                <c:pt idx="345">
                  <c:v>4.XII.21</c:v>
                </c:pt>
                <c:pt idx="346">
                  <c:v>5.XII.21</c:v>
                </c:pt>
                <c:pt idx="347">
                  <c:v>6.XII.21</c:v>
                </c:pt>
                <c:pt idx="348">
                  <c:v>7.XII.21</c:v>
                </c:pt>
                <c:pt idx="349">
                  <c:v>8.XII.21</c:v>
                </c:pt>
                <c:pt idx="350">
                  <c:v>9.XII.21</c:v>
                </c:pt>
                <c:pt idx="351">
                  <c:v>10.XII.21</c:v>
                </c:pt>
                <c:pt idx="352">
                  <c:v>11.XII.21</c:v>
                </c:pt>
                <c:pt idx="353">
                  <c:v>12.XII.21</c:v>
                </c:pt>
                <c:pt idx="354">
                  <c:v>13.XII.21</c:v>
                </c:pt>
                <c:pt idx="355">
                  <c:v>14.XII.21</c:v>
                </c:pt>
                <c:pt idx="356">
                  <c:v>15.XII.21</c:v>
                </c:pt>
                <c:pt idx="357">
                  <c:v>16.XII.21</c:v>
                </c:pt>
                <c:pt idx="358">
                  <c:v>17.XII.21</c:v>
                </c:pt>
                <c:pt idx="359">
                  <c:v>18.XII.21</c:v>
                </c:pt>
                <c:pt idx="360">
                  <c:v>19.XII.21</c:v>
                </c:pt>
                <c:pt idx="361">
                  <c:v>20.XII.21</c:v>
                </c:pt>
                <c:pt idx="362">
                  <c:v>21.XII.21</c:v>
                </c:pt>
                <c:pt idx="363">
                  <c:v>22.XII.21</c:v>
                </c:pt>
                <c:pt idx="364">
                  <c:v>23.XII.21</c:v>
                </c:pt>
                <c:pt idx="365">
                  <c:v>24.XII.21</c:v>
                </c:pt>
                <c:pt idx="366">
                  <c:v>27.XII.21</c:v>
                </c:pt>
                <c:pt idx="367">
                  <c:v>28.XII.21</c:v>
                </c:pt>
                <c:pt idx="368">
                  <c:v>29.XII.21</c:v>
                </c:pt>
                <c:pt idx="369">
                  <c:v>30.XII.21</c:v>
                </c:pt>
                <c:pt idx="370">
                  <c:v>31.XII.21</c:v>
                </c:pt>
                <c:pt idx="371">
                  <c:v>2.I.22</c:v>
                </c:pt>
                <c:pt idx="372">
                  <c:v>3.I.22</c:v>
                </c:pt>
                <c:pt idx="373">
                  <c:v>4.I.22</c:v>
                </c:pt>
                <c:pt idx="374">
                  <c:v>5.I.22</c:v>
                </c:pt>
                <c:pt idx="375">
                  <c:v>6.I.22</c:v>
                </c:pt>
                <c:pt idx="376">
                  <c:v>7.I.22</c:v>
                </c:pt>
                <c:pt idx="377">
                  <c:v>8.I.22</c:v>
                </c:pt>
                <c:pt idx="378">
                  <c:v>9.I.22</c:v>
                </c:pt>
                <c:pt idx="379">
                  <c:v>10.I.22</c:v>
                </c:pt>
                <c:pt idx="380">
                  <c:v>11.I.22</c:v>
                </c:pt>
                <c:pt idx="381">
                  <c:v>12.I.22</c:v>
                </c:pt>
                <c:pt idx="382">
                  <c:v>13.I.22</c:v>
                </c:pt>
                <c:pt idx="383">
                  <c:v>14.I.22</c:v>
                </c:pt>
                <c:pt idx="384">
                  <c:v>15.I.22</c:v>
                </c:pt>
                <c:pt idx="385">
                  <c:v>16.I.22</c:v>
                </c:pt>
                <c:pt idx="386">
                  <c:v>17.I.22</c:v>
                </c:pt>
                <c:pt idx="387">
                  <c:v>18.I.22</c:v>
                </c:pt>
                <c:pt idx="388">
                  <c:v>19.I.22</c:v>
                </c:pt>
                <c:pt idx="389">
                  <c:v>20.I.22</c:v>
                </c:pt>
                <c:pt idx="390">
                  <c:v>21.I.22</c:v>
                </c:pt>
                <c:pt idx="391">
                  <c:v>22.I.22</c:v>
                </c:pt>
                <c:pt idx="392">
                  <c:v>23.I.22</c:v>
                </c:pt>
                <c:pt idx="393">
                  <c:v>24.I.22</c:v>
                </c:pt>
                <c:pt idx="394">
                  <c:v>25.I.22</c:v>
                </c:pt>
                <c:pt idx="395">
                  <c:v>26.I.22</c:v>
                </c:pt>
                <c:pt idx="396">
                  <c:v>27.I.22</c:v>
                </c:pt>
                <c:pt idx="397">
                  <c:v>28.I.22</c:v>
                </c:pt>
                <c:pt idx="398">
                  <c:v>29.I.22</c:v>
                </c:pt>
                <c:pt idx="399">
                  <c:v>30.I.22</c:v>
                </c:pt>
                <c:pt idx="400">
                  <c:v>31.I.22</c:v>
                </c:pt>
                <c:pt idx="401">
                  <c:v>1.II.22</c:v>
                </c:pt>
                <c:pt idx="402">
                  <c:v>2.II.22</c:v>
                </c:pt>
                <c:pt idx="403">
                  <c:v>3.II.22</c:v>
                </c:pt>
                <c:pt idx="404">
                  <c:v>4.II.22</c:v>
                </c:pt>
                <c:pt idx="405">
                  <c:v>5.II.22</c:v>
                </c:pt>
                <c:pt idx="406">
                  <c:v>6.II.22</c:v>
                </c:pt>
                <c:pt idx="407">
                  <c:v>7.II.22</c:v>
                </c:pt>
                <c:pt idx="408">
                  <c:v>8.II.22</c:v>
                </c:pt>
                <c:pt idx="409">
                  <c:v>9.II.22</c:v>
                </c:pt>
                <c:pt idx="410">
                  <c:v>10.II.22</c:v>
                </c:pt>
                <c:pt idx="411">
                  <c:v>11.II.22</c:v>
                </c:pt>
                <c:pt idx="412">
                  <c:v>12.II.22</c:v>
                </c:pt>
                <c:pt idx="413">
                  <c:v>14.II.22</c:v>
                </c:pt>
                <c:pt idx="414">
                  <c:v>15.II.22</c:v>
                </c:pt>
                <c:pt idx="415">
                  <c:v>16.II.22</c:v>
                </c:pt>
                <c:pt idx="416">
                  <c:v>17.II.22</c:v>
                </c:pt>
                <c:pt idx="417">
                  <c:v>18.II.22</c:v>
                </c:pt>
                <c:pt idx="418">
                  <c:v>19.II.22</c:v>
                </c:pt>
                <c:pt idx="419">
                  <c:v>21.II.22</c:v>
                </c:pt>
                <c:pt idx="420">
                  <c:v>22.II.22</c:v>
                </c:pt>
                <c:pt idx="421">
                  <c:v>23.II.22</c:v>
                </c:pt>
                <c:pt idx="422">
                  <c:v>24.II.22</c:v>
                </c:pt>
                <c:pt idx="423">
                  <c:v>25.II.22</c:v>
                </c:pt>
                <c:pt idx="424">
                  <c:v>28.II.22</c:v>
                </c:pt>
                <c:pt idx="425">
                  <c:v>1.III.22</c:v>
                </c:pt>
                <c:pt idx="426">
                  <c:v>2.III.22</c:v>
                </c:pt>
                <c:pt idx="427">
                  <c:v>3.III.22</c:v>
                </c:pt>
                <c:pt idx="428">
                  <c:v>4.III.22</c:v>
                </c:pt>
                <c:pt idx="429">
                  <c:v>5.III.22</c:v>
                </c:pt>
                <c:pt idx="430">
                  <c:v>7.III.22</c:v>
                </c:pt>
                <c:pt idx="431">
                  <c:v>8.III.22</c:v>
                </c:pt>
                <c:pt idx="432">
                  <c:v>9.III.22</c:v>
                </c:pt>
                <c:pt idx="433">
                  <c:v>10.III.22</c:v>
                </c:pt>
                <c:pt idx="434">
                  <c:v>11.III.22</c:v>
                </c:pt>
              </c:strCache>
            </c:strRef>
          </c:cat>
          <c:val>
            <c:numRef>
              <c:f>List1!$F$4:$PX$4</c:f>
              <c:numCache>
                <c:formatCode>General</c:formatCode>
                <c:ptCount val="435"/>
                <c:pt idx="3">
                  <c:v>193</c:v>
                </c:pt>
                <c:pt idx="4">
                  <c:v>640</c:v>
                </c:pt>
                <c:pt idx="5">
                  <c:v>1248</c:v>
                </c:pt>
                <c:pt idx="6">
                  <c:v>1873</c:v>
                </c:pt>
                <c:pt idx="7">
                  <c:v>2046</c:v>
                </c:pt>
                <c:pt idx="8">
                  <c:v>2075</c:v>
                </c:pt>
                <c:pt idx="9">
                  <c:v>2363</c:v>
                </c:pt>
                <c:pt idx="10">
                  <c:v>2574</c:v>
                </c:pt>
                <c:pt idx="11">
                  <c:v>3201</c:v>
                </c:pt>
                <c:pt idx="12">
                  <c:v>4163</c:v>
                </c:pt>
                <c:pt idx="13">
                  <c:v>5581</c:v>
                </c:pt>
                <c:pt idx="14">
                  <c:v>7181</c:v>
                </c:pt>
                <c:pt idx="15">
                  <c:v>9028</c:v>
                </c:pt>
                <c:pt idx="16">
                  <c:v>9336</c:v>
                </c:pt>
                <c:pt idx="17">
                  <c:v>9645</c:v>
                </c:pt>
                <c:pt idx="18">
                  <c:v>11510</c:v>
                </c:pt>
                <c:pt idx="19">
                  <c:v>13791</c:v>
                </c:pt>
                <c:pt idx="20">
                  <c:v>15831</c:v>
                </c:pt>
                <c:pt idx="21">
                  <c:v>17719</c:v>
                </c:pt>
                <c:pt idx="22">
                  <c:v>19328</c:v>
                </c:pt>
                <c:pt idx="23">
                  <c:v>19548</c:v>
                </c:pt>
                <c:pt idx="24">
                  <c:v>19644</c:v>
                </c:pt>
                <c:pt idx="25">
                  <c:v>20818</c:v>
                </c:pt>
                <c:pt idx="26">
                  <c:v>21752</c:v>
                </c:pt>
                <c:pt idx="27">
                  <c:v>22696</c:v>
                </c:pt>
                <c:pt idx="28">
                  <c:v>23553</c:v>
                </c:pt>
                <c:pt idx="29">
                  <c:v>24305</c:v>
                </c:pt>
                <c:pt idx="30">
                  <c:v>24368</c:v>
                </c:pt>
                <c:pt idx="31">
                  <c:v>24413</c:v>
                </c:pt>
                <c:pt idx="32">
                  <c:v>24864</c:v>
                </c:pt>
                <c:pt idx="33">
                  <c:v>25317</c:v>
                </c:pt>
                <c:pt idx="34">
                  <c:v>25713</c:v>
                </c:pt>
                <c:pt idx="35">
                  <c:v>26116</c:v>
                </c:pt>
                <c:pt idx="36">
                  <c:v>26500</c:v>
                </c:pt>
                <c:pt idx="37">
                  <c:v>26524</c:v>
                </c:pt>
                <c:pt idx="38">
                  <c:v>26556</c:v>
                </c:pt>
                <c:pt idx="39">
                  <c:v>26848</c:v>
                </c:pt>
                <c:pt idx="40">
                  <c:v>27138</c:v>
                </c:pt>
                <c:pt idx="41">
                  <c:v>27370</c:v>
                </c:pt>
                <c:pt idx="42">
                  <c:v>27554</c:v>
                </c:pt>
                <c:pt idx="43">
                  <c:v>27789</c:v>
                </c:pt>
                <c:pt idx="44">
                  <c:v>27798</c:v>
                </c:pt>
                <c:pt idx="45">
                  <c:v>27816</c:v>
                </c:pt>
                <c:pt idx="46">
                  <c:v>28053</c:v>
                </c:pt>
                <c:pt idx="47">
                  <c:v>28248</c:v>
                </c:pt>
                <c:pt idx="48">
                  <c:v>28515</c:v>
                </c:pt>
                <c:pt idx="49">
                  <c:v>28866</c:v>
                </c:pt>
                <c:pt idx="50">
                  <c:v>29258</c:v>
                </c:pt>
                <c:pt idx="51">
                  <c:v>29370</c:v>
                </c:pt>
                <c:pt idx="52">
                  <c:v>29436</c:v>
                </c:pt>
                <c:pt idx="53">
                  <c:v>29851</c:v>
                </c:pt>
                <c:pt idx="54">
                  <c:v>30357</c:v>
                </c:pt>
                <c:pt idx="55">
                  <c:v>30902</c:v>
                </c:pt>
                <c:pt idx="56">
                  <c:v>31459</c:v>
                </c:pt>
                <c:pt idx="57">
                  <c:v>32113</c:v>
                </c:pt>
                <c:pt idx="58">
                  <c:v>32338</c:v>
                </c:pt>
                <c:pt idx="59">
                  <c:v>32395</c:v>
                </c:pt>
                <c:pt idx="60">
                  <c:v>33079</c:v>
                </c:pt>
                <c:pt idx="61">
                  <c:v>34078</c:v>
                </c:pt>
                <c:pt idx="62">
                  <c:v>35157</c:v>
                </c:pt>
                <c:pt idx="63">
                  <c:v>36309</c:v>
                </c:pt>
                <c:pt idx="64">
                  <c:v>37382</c:v>
                </c:pt>
                <c:pt idx="65">
                  <c:v>37540</c:v>
                </c:pt>
                <c:pt idx="66">
                  <c:v>37670</c:v>
                </c:pt>
                <c:pt idx="67">
                  <c:v>38783</c:v>
                </c:pt>
                <c:pt idx="68">
                  <c:v>39992</c:v>
                </c:pt>
                <c:pt idx="69">
                  <c:v>41104</c:v>
                </c:pt>
                <c:pt idx="70">
                  <c:v>42106</c:v>
                </c:pt>
                <c:pt idx="71">
                  <c:v>43293</c:v>
                </c:pt>
                <c:pt idx="72">
                  <c:v>43583</c:v>
                </c:pt>
                <c:pt idx="73">
                  <c:v>43798</c:v>
                </c:pt>
                <c:pt idx="74">
                  <c:v>44641</c:v>
                </c:pt>
                <c:pt idx="75">
                  <c:v>45463</c:v>
                </c:pt>
                <c:pt idx="76">
                  <c:v>46361</c:v>
                </c:pt>
                <c:pt idx="77">
                  <c:v>47558</c:v>
                </c:pt>
                <c:pt idx="78">
                  <c:v>48670</c:v>
                </c:pt>
                <c:pt idx="79">
                  <c:v>48954</c:v>
                </c:pt>
                <c:pt idx="80">
                  <c:v>49195</c:v>
                </c:pt>
                <c:pt idx="81">
                  <c:v>49827</c:v>
                </c:pt>
                <c:pt idx="82">
                  <c:v>50755</c:v>
                </c:pt>
                <c:pt idx="83">
                  <c:v>51694</c:v>
                </c:pt>
                <c:pt idx="84">
                  <c:v>52472</c:v>
                </c:pt>
                <c:pt idx="85">
                  <c:v>53429</c:v>
                </c:pt>
                <c:pt idx="86">
                  <c:v>53829</c:v>
                </c:pt>
                <c:pt idx="87">
                  <c:v>54034</c:v>
                </c:pt>
                <c:pt idx="88">
                  <c:v>54483</c:v>
                </c:pt>
                <c:pt idx="89">
                  <c:v>54978</c:v>
                </c:pt>
                <c:pt idx="90">
                  <c:v>55394</c:v>
                </c:pt>
                <c:pt idx="91">
                  <c:v>55939</c:v>
                </c:pt>
                <c:pt idx="92">
                  <c:v>56517</c:v>
                </c:pt>
                <c:pt idx="93">
                  <c:v>56677</c:v>
                </c:pt>
                <c:pt idx="94">
                  <c:v>56813</c:v>
                </c:pt>
                <c:pt idx="95">
                  <c:v>57123</c:v>
                </c:pt>
                <c:pt idx="96">
                  <c:v>57545</c:v>
                </c:pt>
                <c:pt idx="97">
                  <c:v>58040</c:v>
                </c:pt>
                <c:pt idx="98">
                  <c:v>58470</c:v>
                </c:pt>
                <c:pt idx="99">
                  <c:v>58557</c:v>
                </c:pt>
                <c:pt idx="100">
                  <c:v>58615</c:v>
                </c:pt>
                <c:pt idx="101">
                  <c:v>58653</c:v>
                </c:pt>
                <c:pt idx="102">
                  <c:v>58682</c:v>
                </c:pt>
                <c:pt idx="103">
                  <c:v>58911</c:v>
                </c:pt>
                <c:pt idx="104">
                  <c:v>59174</c:v>
                </c:pt>
                <c:pt idx="105">
                  <c:v>59714</c:v>
                </c:pt>
                <c:pt idx="106">
                  <c:v>60217</c:v>
                </c:pt>
                <c:pt idx="107">
                  <c:v>60390</c:v>
                </c:pt>
                <c:pt idx="108">
                  <c:v>60506</c:v>
                </c:pt>
                <c:pt idx="109">
                  <c:v>60883</c:v>
                </c:pt>
                <c:pt idx="110">
                  <c:v>61196</c:v>
                </c:pt>
                <c:pt idx="111">
                  <c:v>61581</c:v>
                </c:pt>
                <c:pt idx="112">
                  <c:v>62132</c:v>
                </c:pt>
                <c:pt idx="113">
                  <c:v>62779</c:v>
                </c:pt>
                <c:pt idx="114">
                  <c:v>62957</c:v>
                </c:pt>
                <c:pt idx="115">
                  <c:v>63151</c:v>
                </c:pt>
                <c:pt idx="116">
                  <c:v>63609</c:v>
                </c:pt>
                <c:pt idx="117">
                  <c:v>64035</c:v>
                </c:pt>
                <c:pt idx="118">
                  <c:v>64535</c:v>
                </c:pt>
                <c:pt idx="119">
                  <c:v>65135</c:v>
                </c:pt>
                <c:pt idx="120">
                  <c:v>65782</c:v>
                </c:pt>
                <c:pt idx="121">
                  <c:v>65966</c:v>
                </c:pt>
                <c:pt idx="122">
                  <c:v>66117</c:v>
                </c:pt>
                <c:pt idx="123">
                  <c:v>66598</c:v>
                </c:pt>
                <c:pt idx="124">
                  <c:v>67020</c:v>
                </c:pt>
                <c:pt idx="125">
                  <c:v>67588</c:v>
                </c:pt>
                <c:pt idx="126">
                  <c:v>68175</c:v>
                </c:pt>
                <c:pt idx="127">
                  <c:v>68793</c:v>
                </c:pt>
                <c:pt idx="128">
                  <c:v>68947</c:v>
                </c:pt>
                <c:pt idx="129">
                  <c:v>69102</c:v>
                </c:pt>
                <c:pt idx="130">
                  <c:v>69558</c:v>
                </c:pt>
                <c:pt idx="131">
                  <c:v>70017</c:v>
                </c:pt>
                <c:pt idx="132">
                  <c:v>70543</c:v>
                </c:pt>
                <c:pt idx="133">
                  <c:v>71075</c:v>
                </c:pt>
                <c:pt idx="134">
                  <c:v>71637</c:v>
                </c:pt>
                <c:pt idx="135">
                  <c:v>71859</c:v>
                </c:pt>
                <c:pt idx="136">
                  <c:v>72029</c:v>
                </c:pt>
                <c:pt idx="137">
                  <c:v>72505</c:v>
                </c:pt>
                <c:pt idx="138">
                  <c:v>72937</c:v>
                </c:pt>
                <c:pt idx="139">
                  <c:v>73414</c:v>
                </c:pt>
                <c:pt idx="140">
                  <c:v>73963</c:v>
                </c:pt>
                <c:pt idx="141">
                  <c:v>74474</c:v>
                </c:pt>
                <c:pt idx="142">
                  <c:v>74683</c:v>
                </c:pt>
                <c:pt idx="143">
                  <c:v>74833</c:v>
                </c:pt>
                <c:pt idx="144">
                  <c:v>75223</c:v>
                </c:pt>
                <c:pt idx="145">
                  <c:v>75641</c:v>
                </c:pt>
                <c:pt idx="146">
                  <c:v>76105</c:v>
                </c:pt>
                <c:pt idx="147">
                  <c:v>76551</c:v>
                </c:pt>
                <c:pt idx="148">
                  <c:v>77008</c:v>
                </c:pt>
                <c:pt idx="149">
                  <c:v>77186</c:v>
                </c:pt>
                <c:pt idx="150">
                  <c:v>77302</c:v>
                </c:pt>
                <c:pt idx="151">
                  <c:v>77591</c:v>
                </c:pt>
                <c:pt idx="152">
                  <c:v>77921</c:v>
                </c:pt>
                <c:pt idx="153">
                  <c:v>78333</c:v>
                </c:pt>
                <c:pt idx="154">
                  <c:v>78706</c:v>
                </c:pt>
                <c:pt idx="155">
                  <c:v>79146</c:v>
                </c:pt>
                <c:pt idx="156">
                  <c:v>79333</c:v>
                </c:pt>
                <c:pt idx="157">
                  <c:v>79500</c:v>
                </c:pt>
                <c:pt idx="158">
                  <c:v>79843</c:v>
                </c:pt>
                <c:pt idx="159">
                  <c:v>80215</c:v>
                </c:pt>
                <c:pt idx="160">
                  <c:v>80667</c:v>
                </c:pt>
                <c:pt idx="161">
                  <c:v>81084</c:v>
                </c:pt>
                <c:pt idx="162">
                  <c:v>81551</c:v>
                </c:pt>
                <c:pt idx="163">
                  <c:v>81813</c:v>
                </c:pt>
                <c:pt idx="164">
                  <c:v>82057</c:v>
                </c:pt>
                <c:pt idx="165">
                  <c:v>82536</c:v>
                </c:pt>
                <c:pt idx="166">
                  <c:v>83084</c:v>
                </c:pt>
                <c:pt idx="167">
                  <c:v>83573</c:v>
                </c:pt>
                <c:pt idx="168">
                  <c:v>84007</c:v>
                </c:pt>
                <c:pt idx="169">
                  <c:v>84472</c:v>
                </c:pt>
                <c:pt idx="170">
                  <c:v>84765</c:v>
                </c:pt>
                <c:pt idx="171">
                  <c:v>84993</c:v>
                </c:pt>
                <c:pt idx="172">
                  <c:v>85349</c:v>
                </c:pt>
                <c:pt idx="173">
                  <c:v>85785</c:v>
                </c:pt>
                <c:pt idx="174">
                  <c:v>86175</c:v>
                </c:pt>
                <c:pt idx="175">
                  <c:v>86544</c:v>
                </c:pt>
                <c:pt idx="176">
                  <c:v>86926</c:v>
                </c:pt>
                <c:pt idx="177">
                  <c:v>87117</c:v>
                </c:pt>
                <c:pt idx="178">
                  <c:v>87259</c:v>
                </c:pt>
                <c:pt idx="179">
                  <c:v>87558</c:v>
                </c:pt>
                <c:pt idx="180">
                  <c:v>87877</c:v>
                </c:pt>
                <c:pt idx="181">
                  <c:v>88134</c:v>
                </c:pt>
                <c:pt idx="182">
                  <c:v>88424</c:v>
                </c:pt>
                <c:pt idx="183">
                  <c:v>88684</c:v>
                </c:pt>
                <c:pt idx="184">
                  <c:v>88836</c:v>
                </c:pt>
                <c:pt idx="185">
                  <c:v>88949</c:v>
                </c:pt>
                <c:pt idx="186">
                  <c:v>89222</c:v>
                </c:pt>
                <c:pt idx="187">
                  <c:v>89471</c:v>
                </c:pt>
                <c:pt idx="188">
                  <c:v>89715</c:v>
                </c:pt>
                <c:pt idx="189">
                  <c:v>89894</c:v>
                </c:pt>
                <c:pt idx="190">
                  <c:v>90132</c:v>
                </c:pt>
                <c:pt idx="191">
                  <c:v>90183</c:v>
                </c:pt>
                <c:pt idx="192">
                  <c:v>90244</c:v>
                </c:pt>
                <c:pt idx="193">
                  <c:v>90302</c:v>
                </c:pt>
                <c:pt idx="194">
                  <c:v>90362</c:v>
                </c:pt>
                <c:pt idx="195">
                  <c:v>90570</c:v>
                </c:pt>
                <c:pt idx="196">
                  <c:v>90788</c:v>
                </c:pt>
                <c:pt idx="197">
                  <c:v>91013</c:v>
                </c:pt>
                <c:pt idx="198">
                  <c:v>91106</c:v>
                </c:pt>
                <c:pt idx="199">
                  <c:v>91164</c:v>
                </c:pt>
                <c:pt idx="200">
                  <c:v>91400</c:v>
                </c:pt>
                <c:pt idx="201">
                  <c:v>91620</c:v>
                </c:pt>
                <c:pt idx="202">
                  <c:v>91861</c:v>
                </c:pt>
                <c:pt idx="203">
                  <c:v>92110</c:v>
                </c:pt>
                <c:pt idx="204">
                  <c:v>92361</c:v>
                </c:pt>
                <c:pt idx="205">
                  <c:v>92471</c:v>
                </c:pt>
                <c:pt idx="206">
                  <c:v>92540</c:v>
                </c:pt>
                <c:pt idx="207">
                  <c:v>92744</c:v>
                </c:pt>
                <c:pt idx="208">
                  <c:v>92904</c:v>
                </c:pt>
                <c:pt idx="209">
                  <c:v>93125</c:v>
                </c:pt>
                <c:pt idx="210">
                  <c:v>93304</c:v>
                </c:pt>
                <c:pt idx="211">
                  <c:v>93517</c:v>
                </c:pt>
                <c:pt idx="212">
                  <c:v>93579</c:v>
                </c:pt>
                <c:pt idx="213">
                  <c:v>93634</c:v>
                </c:pt>
                <c:pt idx="214">
                  <c:v>93816</c:v>
                </c:pt>
                <c:pt idx="215">
                  <c:v>94015</c:v>
                </c:pt>
                <c:pt idx="216">
                  <c:v>94192</c:v>
                </c:pt>
                <c:pt idx="217">
                  <c:v>94352</c:v>
                </c:pt>
                <c:pt idx="218">
                  <c:v>94564</c:v>
                </c:pt>
                <c:pt idx="219">
                  <c:v>94630</c:v>
                </c:pt>
                <c:pt idx="220">
                  <c:v>94680</c:v>
                </c:pt>
                <c:pt idx="221">
                  <c:v>94827</c:v>
                </c:pt>
                <c:pt idx="222">
                  <c:v>94957</c:v>
                </c:pt>
                <c:pt idx="223">
                  <c:v>95102</c:v>
                </c:pt>
                <c:pt idx="224">
                  <c:v>95229</c:v>
                </c:pt>
                <c:pt idx="225">
                  <c:v>95358</c:v>
                </c:pt>
                <c:pt idx="226">
                  <c:v>95396</c:v>
                </c:pt>
                <c:pt idx="227">
                  <c:v>95430</c:v>
                </c:pt>
                <c:pt idx="228">
                  <c:v>95534</c:v>
                </c:pt>
                <c:pt idx="229">
                  <c:v>95650</c:v>
                </c:pt>
                <c:pt idx="230">
                  <c:v>95723</c:v>
                </c:pt>
                <c:pt idx="231">
                  <c:v>95828</c:v>
                </c:pt>
                <c:pt idx="232">
                  <c:v>95932</c:v>
                </c:pt>
                <c:pt idx="233">
                  <c:v>95958</c:v>
                </c:pt>
                <c:pt idx="234">
                  <c:v>95977</c:v>
                </c:pt>
                <c:pt idx="235">
                  <c:v>96058</c:v>
                </c:pt>
                <c:pt idx="236">
                  <c:v>96137</c:v>
                </c:pt>
                <c:pt idx="237">
                  <c:v>96220</c:v>
                </c:pt>
                <c:pt idx="238">
                  <c:v>96292</c:v>
                </c:pt>
                <c:pt idx="239">
                  <c:v>96390</c:v>
                </c:pt>
                <c:pt idx="240">
                  <c:v>96408</c:v>
                </c:pt>
                <c:pt idx="241">
                  <c:v>96427</c:v>
                </c:pt>
                <c:pt idx="242">
                  <c:v>96521</c:v>
                </c:pt>
                <c:pt idx="243">
                  <c:v>96597</c:v>
                </c:pt>
                <c:pt idx="244">
                  <c:v>96674</c:v>
                </c:pt>
                <c:pt idx="245">
                  <c:v>96737</c:v>
                </c:pt>
                <c:pt idx="246">
                  <c:v>96840</c:v>
                </c:pt>
                <c:pt idx="247">
                  <c:v>96866</c:v>
                </c:pt>
                <c:pt idx="248">
                  <c:v>96876</c:v>
                </c:pt>
                <c:pt idx="249">
                  <c:v>96955</c:v>
                </c:pt>
                <c:pt idx="250">
                  <c:v>97034</c:v>
                </c:pt>
                <c:pt idx="251">
                  <c:v>97083</c:v>
                </c:pt>
                <c:pt idx="252">
                  <c:v>97156</c:v>
                </c:pt>
                <c:pt idx="253">
                  <c:v>97249</c:v>
                </c:pt>
                <c:pt idx="254">
                  <c:v>97264</c:v>
                </c:pt>
                <c:pt idx="255">
                  <c:v>97282</c:v>
                </c:pt>
                <c:pt idx="256">
                  <c:v>97346</c:v>
                </c:pt>
                <c:pt idx="257">
                  <c:v>97381</c:v>
                </c:pt>
                <c:pt idx="258">
                  <c:v>97434</c:v>
                </c:pt>
                <c:pt idx="259">
                  <c:v>97493</c:v>
                </c:pt>
                <c:pt idx="260">
                  <c:v>97563</c:v>
                </c:pt>
                <c:pt idx="261">
                  <c:v>97579</c:v>
                </c:pt>
                <c:pt idx="262">
                  <c:v>97592</c:v>
                </c:pt>
                <c:pt idx="263">
                  <c:v>97640</c:v>
                </c:pt>
                <c:pt idx="264">
                  <c:v>97691</c:v>
                </c:pt>
                <c:pt idx="265">
                  <c:v>97734</c:v>
                </c:pt>
                <c:pt idx="266">
                  <c:v>97780</c:v>
                </c:pt>
                <c:pt idx="267">
                  <c:v>97852</c:v>
                </c:pt>
                <c:pt idx="268">
                  <c:v>97871</c:v>
                </c:pt>
                <c:pt idx="269">
                  <c:v>97877</c:v>
                </c:pt>
                <c:pt idx="270">
                  <c:v>97921</c:v>
                </c:pt>
                <c:pt idx="271">
                  <c:v>97968</c:v>
                </c:pt>
                <c:pt idx="272">
                  <c:v>98011</c:v>
                </c:pt>
                <c:pt idx="273">
                  <c:v>98069</c:v>
                </c:pt>
                <c:pt idx="274">
                  <c:v>98138</c:v>
                </c:pt>
                <c:pt idx="275">
                  <c:v>98154</c:v>
                </c:pt>
                <c:pt idx="276">
                  <c:v>98160</c:v>
                </c:pt>
                <c:pt idx="277">
                  <c:v>98202</c:v>
                </c:pt>
                <c:pt idx="278">
                  <c:v>98208</c:v>
                </c:pt>
                <c:pt idx="279">
                  <c:v>98235</c:v>
                </c:pt>
                <c:pt idx="280">
                  <c:v>98281</c:v>
                </c:pt>
                <c:pt idx="281">
                  <c:v>98319</c:v>
                </c:pt>
                <c:pt idx="282">
                  <c:v>98327</c:v>
                </c:pt>
                <c:pt idx="283">
                  <c:v>98334</c:v>
                </c:pt>
                <c:pt idx="284">
                  <c:v>98364</c:v>
                </c:pt>
                <c:pt idx="285">
                  <c:v>98393</c:v>
                </c:pt>
                <c:pt idx="286">
                  <c:v>98431</c:v>
                </c:pt>
                <c:pt idx="287">
                  <c:v>98455</c:v>
                </c:pt>
                <c:pt idx="288">
                  <c:v>98503</c:v>
                </c:pt>
                <c:pt idx="289">
                  <c:v>98512</c:v>
                </c:pt>
                <c:pt idx="290">
                  <c:v>98519</c:v>
                </c:pt>
                <c:pt idx="291">
                  <c:v>98547</c:v>
                </c:pt>
                <c:pt idx="292">
                  <c:v>98593</c:v>
                </c:pt>
                <c:pt idx="293">
                  <c:v>98630</c:v>
                </c:pt>
                <c:pt idx="294">
                  <c:v>98658</c:v>
                </c:pt>
                <c:pt idx="295">
                  <c:v>98716</c:v>
                </c:pt>
                <c:pt idx="296">
                  <c:v>98733</c:v>
                </c:pt>
                <c:pt idx="297">
                  <c:v>98744</c:v>
                </c:pt>
                <c:pt idx="298">
                  <c:v>98802</c:v>
                </c:pt>
                <c:pt idx="299">
                  <c:v>98834</c:v>
                </c:pt>
                <c:pt idx="300">
                  <c:v>98893</c:v>
                </c:pt>
                <c:pt idx="301">
                  <c:v>98993</c:v>
                </c:pt>
                <c:pt idx="302">
                  <c:v>99137</c:v>
                </c:pt>
                <c:pt idx="303">
                  <c:v>99187</c:v>
                </c:pt>
                <c:pt idx="304">
                  <c:v>99221</c:v>
                </c:pt>
                <c:pt idx="305">
                  <c:v>99338</c:v>
                </c:pt>
                <c:pt idx="306">
                  <c:v>99495</c:v>
                </c:pt>
                <c:pt idx="307">
                  <c:v>99665</c:v>
                </c:pt>
                <c:pt idx="308">
                  <c:v>99705</c:v>
                </c:pt>
                <c:pt idx="309">
                  <c:v>99886</c:v>
                </c:pt>
                <c:pt idx="310">
                  <c:v>99936</c:v>
                </c:pt>
                <c:pt idx="311">
                  <c:v>99971</c:v>
                </c:pt>
                <c:pt idx="312">
                  <c:v>100175</c:v>
                </c:pt>
                <c:pt idx="313">
                  <c:v>100352</c:v>
                </c:pt>
                <c:pt idx="314">
                  <c:v>100544</c:v>
                </c:pt>
                <c:pt idx="315">
                  <c:v>100752</c:v>
                </c:pt>
                <c:pt idx="316">
                  <c:v>101003</c:v>
                </c:pt>
                <c:pt idx="317">
                  <c:v>101076</c:v>
                </c:pt>
                <c:pt idx="318">
                  <c:v>101119</c:v>
                </c:pt>
                <c:pt idx="319">
                  <c:v>101303</c:v>
                </c:pt>
                <c:pt idx="320">
                  <c:v>101453</c:v>
                </c:pt>
                <c:pt idx="321">
                  <c:v>101617</c:v>
                </c:pt>
                <c:pt idx="322">
                  <c:v>101805</c:v>
                </c:pt>
                <c:pt idx="323">
                  <c:v>102071</c:v>
                </c:pt>
                <c:pt idx="324">
                  <c:v>102125</c:v>
                </c:pt>
                <c:pt idx="325">
                  <c:v>102163</c:v>
                </c:pt>
                <c:pt idx="326">
                  <c:v>102346</c:v>
                </c:pt>
                <c:pt idx="327">
                  <c:v>102557</c:v>
                </c:pt>
                <c:pt idx="328">
                  <c:v>102596</c:v>
                </c:pt>
                <c:pt idx="329">
                  <c:v>102836</c:v>
                </c:pt>
                <c:pt idx="330">
                  <c:v>103115</c:v>
                </c:pt>
                <c:pt idx="331">
                  <c:v>103194</c:v>
                </c:pt>
                <c:pt idx="332">
                  <c:v>103258</c:v>
                </c:pt>
                <c:pt idx="333">
                  <c:v>103445</c:v>
                </c:pt>
                <c:pt idx="334">
                  <c:v>103638</c:v>
                </c:pt>
                <c:pt idx="335">
                  <c:v>103839</c:v>
                </c:pt>
                <c:pt idx="336">
                  <c:v>104050</c:v>
                </c:pt>
                <c:pt idx="337">
                  <c:v>104270</c:v>
                </c:pt>
                <c:pt idx="338">
                  <c:v>104348</c:v>
                </c:pt>
                <c:pt idx="339">
                  <c:v>104371</c:v>
                </c:pt>
                <c:pt idx="340">
                  <c:v>104541</c:v>
                </c:pt>
                <c:pt idx="341">
                  <c:v>104688</c:v>
                </c:pt>
                <c:pt idx="342">
                  <c:v>104849</c:v>
                </c:pt>
                <c:pt idx="343">
                  <c:v>104961</c:v>
                </c:pt>
                <c:pt idx="344">
                  <c:v>105080</c:v>
                </c:pt>
                <c:pt idx="345">
                  <c:v>105102</c:v>
                </c:pt>
                <c:pt idx="346">
                  <c:v>105109</c:v>
                </c:pt>
                <c:pt idx="347">
                  <c:v>105180</c:v>
                </c:pt>
                <c:pt idx="348">
                  <c:v>105257</c:v>
                </c:pt>
                <c:pt idx="349">
                  <c:v>105345</c:v>
                </c:pt>
                <c:pt idx="350">
                  <c:v>105419</c:v>
                </c:pt>
                <c:pt idx="351">
                  <c:v>105506</c:v>
                </c:pt>
                <c:pt idx="352">
                  <c:v>105524</c:v>
                </c:pt>
                <c:pt idx="353">
                  <c:v>105537</c:v>
                </c:pt>
                <c:pt idx="354">
                  <c:v>105613</c:v>
                </c:pt>
                <c:pt idx="355">
                  <c:v>105686</c:v>
                </c:pt>
                <c:pt idx="356">
                  <c:v>105732</c:v>
                </c:pt>
                <c:pt idx="357">
                  <c:v>105806</c:v>
                </c:pt>
                <c:pt idx="358">
                  <c:v>105896</c:v>
                </c:pt>
                <c:pt idx="359">
                  <c:v>105922</c:v>
                </c:pt>
                <c:pt idx="360">
                  <c:v>105931</c:v>
                </c:pt>
                <c:pt idx="361">
                  <c:v>105987</c:v>
                </c:pt>
                <c:pt idx="362">
                  <c:v>106045</c:v>
                </c:pt>
                <c:pt idx="363">
                  <c:v>106084</c:v>
                </c:pt>
                <c:pt idx="364">
                  <c:v>106094</c:v>
                </c:pt>
                <c:pt idx="365">
                  <c:v>106094</c:v>
                </c:pt>
                <c:pt idx="366">
                  <c:v>106122</c:v>
                </c:pt>
                <c:pt idx="367">
                  <c:v>106151</c:v>
                </c:pt>
                <c:pt idx="368">
                  <c:v>106177</c:v>
                </c:pt>
                <c:pt idx="369">
                  <c:v>106211</c:v>
                </c:pt>
                <c:pt idx="370">
                  <c:v>106214</c:v>
                </c:pt>
                <c:pt idx="371">
                  <c:v>106217</c:v>
                </c:pt>
                <c:pt idx="372">
                  <c:v>106248</c:v>
                </c:pt>
                <c:pt idx="373">
                  <c:v>106290</c:v>
                </c:pt>
                <c:pt idx="374">
                  <c:v>106324</c:v>
                </c:pt>
                <c:pt idx="375">
                  <c:v>106375</c:v>
                </c:pt>
                <c:pt idx="376">
                  <c:v>106451</c:v>
                </c:pt>
                <c:pt idx="377">
                  <c:v>106462</c:v>
                </c:pt>
                <c:pt idx="378">
                  <c:v>106474</c:v>
                </c:pt>
                <c:pt idx="379">
                  <c:v>106512</c:v>
                </c:pt>
                <c:pt idx="380">
                  <c:v>106551</c:v>
                </c:pt>
                <c:pt idx="381">
                  <c:v>106598</c:v>
                </c:pt>
                <c:pt idx="382">
                  <c:v>106647</c:v>
                </c:pt>
                <c:pt idx="383">
                  <c:v>106707</c:v>
                </c:pt>
                <c:pt idx="384">
                  <c:v>106727</c:v>
                </c:pt>
                <c:pt idx="385">
                  <c:v>106737</c:v>
                </c:pt>
                <c:pt idx="386">
                  <c:v>106776</c:v>
                </c:pt>
                <c:pt idx="387">
                  <c:v>106824</c:v>
                </c:pt>
                <c:pt idx="388">
                  <c:v>106851</c:v>
                </c:pt>
                <c:pt idx="389">
                  <c:v>106876</c:v>
                </c:pt>
                <c:pt idx="390">
                  <c:v>106926</c:v>
                </c:pt>
                <c:pt idx="391">
                  <c:v>106930</c:v>
                </c:pt>
                <c:pt idx="392">
                  <c:v>106935</c:v>
                </c:pt>
                <c:pt idx="393">
                  <c:v>106956</c:v>
                </c:pt>
                <c:pt idx="394">
                  <c:v>106976</c:v>
                </c:pt>
                <c:pt idx="395">
                  <c:v>106998</c:v>
                </c:pt>
                <c:pt idx="396">
                  <c:v>107015</c:v>
                </c:pt>
                <c:pt idx="397">
                  <c:v>107041</c:v>
                </c:pt>
                <c:pt idx="398">
                  <c:v>107047</c:v>
                </c:pt>
                <c:pt idx="399">
                  <c:v>107049</c:v>
                </c:pt>
                <c:pt idx="400">
                  <c:v>107056</c:v>
                </c:pt>
                <c:pt idx="401">
                  <c:v>107066</c:v>
                </c:pt>
                <c:pt idx="402">
                  <c:v>107077</c:v>
                </c:pt>
                <c:pt idx="403">
                  <c:v>107085</c:v>
                </c:pt>
                <c:pt idx="404">
                  <c:v>107097</c:v>
                </c:pt>
                <c:pt idx="405">
                  <c:v>107098</c:v>
                </c:pt>
                <c:pt idx="406">
                  <c:v>107099</c:v>
                </c:pt>
                <c:pt idx="407">
                  <c:v>107106</c:v>
                </c:pt>
                <c:pt idx="408">
                  <c:v>107113</c:v>
                </c:pt>
                <c:pt idx="409">
                  <c:v>107118</c:v>
                </c:pt>
                <c:pt idx="410">
                  <c:v>107123</c:v>
                </c:pt>
                <c:pt idx="411">
                  <c:v>107137</c:v>
                </c:pt>
                <c:pt idx="412">
                  <c:v>107138</c:v>
                </c:pt>
                <c:pt idx="413">
                  <c:v>107140</c:v>
                </c:pt>
                <c:pt idx="414">
                  <c:v>107146</c:v>
                </c:pt>
                <c:pt idx="415">
                  <c:v>107151</c:v>
                </c:pt>
                <c:pt idx="416">
                  <c:v>107152</c:v>
                </c:pt>
                <c:pt idx="417">
                  <c:v>107153</c:v>
                </c:pt>
                <c:pt idx="418">
                  <c:v>107155</c:v>
                </c:pt>
                <c:pt idx="419">
                  <c:v>107158</c:v>
                </c:pt>
                <c:pt idx="420">
                  <c:v>107160</c:v>
                </c:pt>
                <c:pt idx="421">
                  <c:v>107160</c:v>
                </c:pt>
                <c:pt idx="422">
                  <c:v>107160</c:v>
                </c:pt>
                <c:pt idx="423">
                  <c:v>107163</c:v>
                </c:pt>
                <c:pt idx="424">
                  <c:v>107164</c:v>
                </c:pt>
                <c:pt idx="425">
                  <c:v>107167</c:v>
                </c:pt>
                <c:pt idx="426">
                  <c:v>107168</c:v>
                </c:pt>
                <c:pt idx="427">
                  <c:v>107168</c:v>
                </c:pt>
                <c:pt idx="428">
                  <c:v>107181</c:v>
                </c:pt>
                <c:pt idx="429">
                  <c:v>107182</c:v>
                </c:pt>
                <c:pt idx="430">
                  <c:v>107184</c:v>
                </c:pt>
                <c:pt idx="431">
                  <c:v>107187</c:v>
                </c:pt>
                <c:pt idx="432">
                  <c:v>107192</c:v>
                </c:pt>
                <c:pt idx="433">
                  <c:v>107200</c:v>
                </c:pt>
                <c:pt idx="434">
                  <c:v>107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F$1:$PX$1</c:f>
              <c:strCache>
                <c:ptCount val="435"/>
                <c:pt idx="0">
                  <c:v>24-XII.20</c:v>
                </c:pt>
                <c:pt idx="1">
                  <c:v>25-XII.20</c:v>
                </c:pt>
                <c:pt idx="2">
                  <c:v>26-XII.20</c:v>
                </c:pt>
                <c:pt idx="3">
                  <c:v>27.XII.20</c:v>
                </c:pt>
                <c:pt idx="4">
                  <c:v>28.XII.20</c:v>
                </c:pt>
                <c:pt idx="5">
                  <c:v>29.XII.20</c:v>
                </c:pt>
                <c:pt idx="6">
                  <c:v>30.XII.20</c:v>
                </c:pt>
                <c:pt idx="7">
                  <c:v>31.XII.20</c:v>
                </c:pt>
                <c:pt idx="8">
                  <c:v>1.I.21</c:v>
                </c:pt>
                <c:pt idx="9">
                  <c:v>2.I.21</c:v>
                </c:pt>
                <c:pt idx="10">
                  <c:v>3.I.21</c:v>
                </c:pt>
                <c:pt idx="11">
                  <c:v>4.I.21</c:v>
                </c:pt>
                <c:pt idx="12">
                  <c:v>5.I.21</c:v>
                </c:pt>
                <c:pt idx="13">
                  <c:v>6.I.21</c:v>
                </c:pt>
                <c:pt idx="14">
                  <c:v>7.I.21</c:v>
                </c:pt>
                <c:pt idx="15">
                  <c:v>8.I.21</c:v>
                </c:pt>
                <c:pt idx="16">
                  <c:v>9.I.21</c:v>
                </c:pt>
                <c:pt idx="17">
                  <c:v>10.I.21</c:v>
                </c:pt>
                <c:pt idx="18">
                  <c:v>11.I.21</c:v>
                </c:pt>
                <c:pt idx="19">
                  <c:v>12.I.21</c:v>
                </c:pt>
                <c:pt idx="20">
                  <c:v>13.I.21</c:v>
                </c:pt>
                <c:pt idx="21">
                  <c:v>14.I.21</c:v>
                </c:pt>
                <c:pt idx="22">
                  <c:v>15.I.21</c:v>
                </c:pt>
                <c:pt idx="23">
                  <c:v>16.I.21</c:v>
                </c:pt>
                <c:pt idx="24">
                  <c:v>17.I.21</c:v>
                </c:pt>
                <c:pt idx="25">
                  <c:v>18.I.21</c:v>
                </c:pt>
                <c:pt idx="26">
                  <c:v>19.I.21</c:v>
                </c:pt>
                <c:pt idx="27">
                  <c:v>20.I.21</c:v>
                </c:pt>
                <c:pt idx="28">
                  <c:v>21.I.21</c:v>
                </c:pt>
                <c:pt idx="29">
                  <c:v>22.I.21</c:v>
                </c:pt>
                <c:pt idx="30">
                  <c:v>23.I.21</c:v>
                </c:pt>
                <c:pt idx="31">
                  <c:v>24.I.21</c:v>
                </c:pt>
                <c:pt idx="32">
                  <c:v>25.I.21</c:v>
                </c:pt>
                <c:pt idx="33">
                  <c:v>26.I.21</c:v>
                </c:pt>
                <c:pt idx="34">
                  <c:v>27.I.21</c:v>
                </c:pt>
                <c:pt idx="35">
                  <c:v>28.I.21</c:v>
                </c:pt>
                <c:pt idx="36">
                  <c:v>29.I.21</c:v>
                </c:pt>
                <c:pt idx="37">
                  <c:v>30.I.21</c:v>
                </c:pt>
                <c:pt idx="38">
                  <c:v>31.I.21</c:v>
                </c:pt>
                <c:pt idx="39">
                  <c:v>1.II.21</c:v>
                </c:pt>
                <c:pt idx="40">
                  <c:v>2.II.21</c:v>
                </c:pt>
                <c:pt idx="41">
                  <c:v>3.II.21</c:v>
                </c:pt>
                <c:pt idx="42">
                  <c:v>4.II.21</c:v>
                </c:pt>
                <c:pt idx="43">
                  <c:v>5.II.21</c:v>
                </c:pt>
                <c:pt idx="44">
                  <c:v>6.II.21</c:v>
                </c:pt>
                <c:pt idx="45">
                  <c:v>7.II.21</c:v>
                </c:pt>
                <c:pt idx="46">
                  <c:v>8.II.21</c:v>
                </c:pt>
                <c:pt idx="47">
                  <c:v>9.II.21</c:v>
                </c:pt>
                <c:pt idx="48">
                  <c:v>10.II.21</c:v>
                </c:pt>
                <c:pt idx="49">
                  <c:v>11.II.21</c:v>
                </c:pt>
                <c:pt idx="50">
                  <c:v>12.II.21</c:v>
                </c:pt>
                <c:pt idx="51">
                  <c:v>13.II.21</c:v>
                </c:pt>
                <c:pt idx="52">
                  <c:v>14.II.21</c:v>
                </c:pt>
                <c:pt idx="53">
                  <c:v>15.II.21</c:v>
                </c:pt>
                <c:pt idx="54">
                  <c:v>16.II.21</c:v>
                </c:pt>
                <c:pt idx="55">
                  <c:v>17.II.21</c:v>
                </c:pt>
                <c:pt idx="56">
                  <c:v>18.II.21</c:v>
                </c:pt>
                <c:pt idx="57">
                  <c:v>19.II.21</c:v>
                </c:pt>
                <c:pt idx="58">
                  <c:v>20.II.21</c:v>
                </c:pt>
                <c:pt idx="59">
                  <c:v>21.II.21</c:v>
                </c:pt>
                <c:pt idx="60">
                  <c:v>22.II.21</c:v>
                </c:pt>
                <c:pt idx="61">
                  <c:v>23.II.21</c:v>
                </c:pt>
                <c:pt idx="62">
                  <c:v>24.II.21</c:v>
                </c:pt>
                <c:pt idx="63">
                  <c:v>25.II.21</c:v>
                </c:pt>
                <c:pt idx="64">
                  <c:v>26.II.21</c:v>
                </c:pt>
                <c:pt idx="65">
                  <c:v>27.II.21</c:v>
                </c:pt>
                <c:pt idx="66">
                  <c:v>28.II.21</c:v>
                </c:pt>
                <c:pt idx="67">
                  <c:v>1.III.21</c:v>
                </c:pt>
                <c:pt idx="68">
                  <c:v>2.III.21</c:v>
                </c:pt>
                <c:pt idx="69">
                  <c:v>3.III.21</c:v>
                </c:pt>
                <c:pt idx="70">
                  <c:v>4.III.21</c:v>
                </c:pt>
                <c:pt idx="71">
                  <c:v>5.III.21</c:v>
                </c:pt>
                <c:pt idx="72">
                  <c:v>6.III.21</c:v>
                </c:pt>
                <c:pt idx="73">
                  <c:v>7.III.21</c:v>
                </c:pt>
                <c:pt idx="74">
                  <c:v>8.III.21</c:v>
                </c:pt>
                <c:pt idx="75">
                  <c:v>9.III.21</c:v>
                </c:pt>
                <c:pt idx="76">
                  <c:v>10.III.21</c:v>
                </c:pt>
                <c:pt idx="77">
                  <c:v>11.III.21</c:v>
                </c:pt>
                <c:pt idx="78">
                  <c:v>12.III.21</c:v>
                </c:pt>
                <c:pt idx="79">
                  <c:v>13.III.21</c:v>
                </c:pt>
                <c:pt idx="80">
                  <c:v>14.III.21</c:v>
                </c:pt>
                <c:pt idx="81">
                  <c:v>15.III.21</c:v>
                </c:pt>
                <c:pt idx="82">
                  <c:v>16.III.21</c:v>
                </c:pt>
                <c:pt idx="83">
                  <c:v>17.III.21</c:v>
                </c:pt>
                <c:pt idx="84">
                  <c:v>18.III.21</c:v>
                </c:pt>
                <c:pt idx="85">
                  <c:v>19.III.21</c:v>
                </c:pt>
                <c:pt idx="86">
                  <c:v>20.III.21</c:v>
                </c:pt>
                <c:pt idx="87">
                  <c:v>21.III.21</c:v>
                </c:pt>
                <c:pt idx="88">
                  <c:v>22.III.21</c:v>
                </c:pt>
                <c:pt idx="89">
                  <c:v>23.III.21</c:v>
                </c:pt>
                <c:pt idx="90">
                  <c:v>24.III.21</c:v>
                </c:pt>
                <c:pt idx="91">
                  <c:v>25.III.21</c:v>
                </c:pt>
                <c:pt idx="92">
                  <c:v>26.III.21</c:v>
                </c:pt>
                <c:pt idx="93">
                  <c:v>27.III.21</c:v>
                </c:pt>
                <c:pt idx="94">
                  <c:v>28.III.21</c:v>
                </c:pt>
                <c:pt idx="95">
                  <c:v>29.III.21</c:v>
                </c:pt>
                <c:pt idx="96">
                  <c:v>30.III.21</c:v>
                </c:pt>
                <c:pt idx="97">
                  <c:v>31.III.21</c:v>
                </c:pt>
                <c:pt idx="98">
                  <c:v>1.IV.21</c:v>
                </c:pt>
                <c:pt idx="99">
                  <c:v>2.IV.21</c:v>
                </c:pt>
                <c:pt idx="100">
                  <c:v>3.IV.21</c:v>
                </c:pt>
                <c:pt idx="101">
                  <c:v>4.IV.21</c:v>
                </c:pt>
                <c:pt idx="102">
                  <c:v>5.IV.21</c:v>
                </c:pt>
                <c:pt idx="103">
                  <c:v>6.IV.21</c:v>
                </c:pt>
                <c:pt idx="104">
                  <c:v>7.IV.21</c:v>
                </c:pt>
                <c:pt idx="105">
                  <c:v>8.IV.21</c:v>
                </c:pt>
                <c:pt idx="106">
                  <c:v>9.IV.21</c:v>
                </c:pt>
                <c:pt idx="107">
                  <c:v>10.IV.21</c:v>
                </c:pt>
                <c:pt idx="108">
                  <c:v>11.IV.21</c:v>
                </c:pt>
                <c:pt idx="109">
                  <c:v>12.IV.21</c:v>
                </c:pt>
                <c:pt idx="110">
                  <c:v>13.IV.21</c:v>
                </c:pt>
                <c:pt idx="111">
                  <c:v>14.IV.21</c:v>
                </c:pt>
                <c:pt idx="112">
                  <c:v>15.IV.21</c:v>
                </c:pt>
                <c:pt idx="113">
                  <c:v>16.IV.21</c:v>
                </c:pt>
                <c:pt idx="114">
                  <c:v>17.IV.21</c:v>
                </c:pt>
                <c:pt idx="115">
                  <c:v>18.IV.21</c:v>
                </c:pt>
                <c:pt idx="116">
                  <c:v>19.IV.21</c:v>
                </c:pt>
                <c:pt idx="117">
                  <c:v>20.IV.21</c:v>
                </c:pt>
                <c:pt idx="118">
                  <c:v>21.IV.21</c:v>
                </c:pt>
                <c:pt idx="119">
                  <c:v>22.IV.21</c:v>
                </c:pt>
                <c:pt idx="120">
                  <c:v>23.IV.21</c:v>
                </c:pt>
                <c:pt idx="121">
                  <c:v>24.IV.21</c:v>
                </c:pt>
                <c:pt idx="122">
                  <c:v>25.IV.21</c:v>
                </c:pt>
                <c:pt idx="123">
                  <c:v>26.IV.21</c:v>
                </c:pt>
                <c:pt idx="124">
                  <c:v>27.IV.21</c:v>
                </c:pt>
                <c:pt idx="125">
                  <c:v>28.IV.21</c:v>
                </c:pt>
                <c:pt idx="126">
                  <c:v>29.IV.21</c:v>
                </c:pt>
                <c:pt idx="127">
                  <c:v>30.IV.21</c:v>
                </c:pt>
                <c:pt idx="128">
                  <c:v>1.V.21</c:v>
                </c:pt>
                <c:pt idx="129">
                  <c:v>2.V.21</c:v>
                </c:pt>
                <c:pt idx="130">
                  <c:v>3.V.21</c:v>
                </c:pt>
                <c:pt idx="131">
                  <c:v>4.V.21</c:v>
                </c:pt>
                <c:pt idx="132">
                  <c:v>5.V.21</c:v>
                </c:pt>
                <c:pt idx="133">
                  <c:v>6.V.21</c:v>
                </c:pt>
                <c:pt idx="134">
                  <c:v>7.V.21</c:v>
                </c:pt>
                <c:pt idx="135">
                  <c:v>8.V.21</c:v>
                </c:pt>
                <c:pt idx="136">
                  <c:v>9.V.21</c:v>
                </c:pt>
                <c:pt idx="137">
                  <c:v>10.V.21</c:v>
                </c:pt>
                <c:pt idx="138">
                  <c:v>11.V.21</c:v>
                </c:pt>
                <c:pt idx="139">
                  <c:v>12.V.21</c:v>
                </c:pt>
                <c:pt idx="140">
                  <c:v>13.V.21</c:v>
                </c:pt>
                <c:pt idx="141">
                  <c:v>14.V.21</c:v>
                </c:pt>
                <c:pt idx="142">
                  <c:v>15.V.21</c:v>
                </c:pt>
                <c:pt idx="143">
                  <c:v>16.V.21</c:v>
                </c:pt>
                <c:pt idx="144">
                  <c:v>17.V.21</c:v>
                </c:pt>
                <c:pt idx="145">
                  <c:v>18.V.21</c:v>
                </c:pt>
                <c:pt idx="146">
                  <c:v>19.V.21</c:v>
                </c:pt>
                <c:pt idx="147">
                  <c:v>20.V.21</c:v>
                </c:pt>
                <c:pt idx="148">
                  <c:v>21.V.21</c:v>
                </c:pt>
                <c:pt idx="149">
                  <c:v>22.V.21</c:v>
                </c:pt>
                <c:pt idx="150">
                  <c:v>23.V.21</c:v>
                </c:pt>
                <c:pt idx="151">
                  <c:v>24.V.21</c:v>
                </c:pt>
                <c:pt idx="152">
                  <c:v>25.V.21</c:v>
                </c:pt>
                <c:pt idx="153">
                  <c:v>26.V.21</c:v>
                </c:pt>
                <c:pt idx="154">
                  <c:v>27.V.21</c:v>
                </c:pt>
                <c:pt idx="155">
                  <c:v>28.V.21</c:v>
                </c:pt>
                <c:pt idx="156">
                  <c:v>29.V.21</c:v>
                </c:pt>
                <c:pt idx="157">
                  <c:v>30.V.21</c:v>
                </c:pt>
                <c:pt idx="158">
                  <c:v>31.V.21</c:v>
                </c:pt>
                <c:pt idx="159">
                  <c:v>1.VI.21</c:v>
                </c:pt>
                <c:pt idx="160">
                  <c:v>2.VI.21</c:v>
                </c:pt>
                <c:pt idx="161">
                  <c:v>3.VI.21</c:v>
                </c:pt>
                <c:pt idx="162">
                  <c:v>4.VI.21</c:v>
                </c:pt>
                <c:pt idx="163">
                  <c:v>5.VI.21</c:v>
                </c:pt>
                <c:pt idx="164">
                  <c:v>6.VI.21</c:v>
                </c:pt>
                <c:pt idx="165">
                  <c:v>7.VI.21</c:v>
                </c:pt>
                <c:pt idx="166">
                  <c:v>8.VI.21</c:v>
                </c:pt>
                <c:pt idx="167">
                  <c:v>9.VI.21</c:v>
                </c:pt>
                <c:pt idx="168">
                  <c:v>10.VI.21</c:v>
                </c:pt>
                <c:pt idx="169">
                  <c:v>11.VI.21</c:v>
                </c:pt>
                <c:pt idx="170">
                  <c:v>12.VI.21</c:v>
                </c:pt>
                <c:pt idx="171">
                  <c:v>13.VI.21</c:v>
                </c:pt>
                <c:pt idx="172">
                  <c:v>14.VI.21</c:v>
                </c:pt>
                <c:pt idx="173">
                  <c:v>15.VI.21</c:v>
                </c:pt>
                <c:pt idx="174">
                  <c:v>16.VI.21</c:v>
                </c:pt>
                <c:pt idx="175">
                  <c:v>17.VI.21</c:v>
                </c:pt>
                <c:pt idx="176">
                  <c:v>18.VI.21</c:v>
                </c:pt>
                <c:pt idx="177">
                  <c:v>19.VI.21</c:v>
                </c:pt>
                <c:pt idx="178">
                  <c:v>20.VI.21</c:v>
                </c:pt>
                <c:pt idx="179">
                  <c:v>21.VI.21</c:v>
                </c:pt>
                <c:pt idx="180">
                  <c:v>22.VI.21</c:v>
                </c:pt>
                <c:pt idx="181">
                  <c:v>23.VI.21</c:v>
                </c:pt>
                <c:pt idx="182">
                  <c:v>24.VI.21</c:v>
                </c:pt>
                <c:pt idx="183">
                  <c:v>25.VI.21</c:v>
                </c:pt>
                <c:pt idx="184">
                  <c:v>26.VI.21</c:v>
                </c:pt>
                <c:pt idx="185">
                  <c:v>27.VI.21</c:v>
                </c:pt>
                <c:pt idx="186">
                  <c:v>28.VI.21</c:v>
                </c:pt>
                <c:pt idx="187">
                  <c:v>29.VI.21</c:v>
                </c:pt>
                <c:pt idx="188">
                  <c:v>30.VI.21</c:v>
                </c:pt>
                <c:pt idx="189">
                  <c:v>1.VII.21</c:v>
                </c:pt>
                <c:pt idx="190">
                  <c:v>2.VII.21</c:v>
                </c:pt>
                <c:pt idx="191">
                  <c:v>3.VII.21</c:v>
                </c:pt>
                <c:pt idx="192">
                  <c:v>4.VII.21</c:v>
                </c:pt>
                <c:pt idx="193">
                  <c:v>5.VII.21</c:v>
                </c:pt>
                <c:pt idx="194">
                  <c:v>6.VII.21</c:v>
                </c:pt>
                <c:pt idx="195">
                  <c:v>7.VII.21</c:v>
                </c:pt>
                <c:pt idx="196">
                  <c:v>8.VII.21</c:v>
                </c:pt>
                <c:pt idx="197">
                  <c:v>9.VII.21</c:v>
                </c:pt>
                <c:pt idx="198">
                  <c:v>10.VII.21</c:v>
                </c:pt>
                <c:pt idx="199">
                  <c:v>11.VII.21</c:v>
                </c:pt>
                <c:pt idx="200">
                  <c:v>12.VII.21</c:v>
                </c:pt>
                <c:pt idx="201">
                  <c:v>13.VII.21</c:v>
                </c:pt>
                <c:pt idx="202">
                  <c:v>14.VII.21</c:v>
                </c:pt>
                <c:pt idx="203">
                  <c:v>15.VII.21</c:v>
                </c:pt>
                <c:pt idx="204">
                  <c:v>16.VII.21</c:v>
                </c:pt>
                <c:pt idx="205">
                  <c:v>17.VII.21</c:v>
                </c:pt>
                <c:pt idx="206">
                  <c:v>18.VII.21</c:v>
                </c:pt>
                <c:pt idx="207">
                  <c:v>19.VII.21</c:v>
                </c:pt>
                <c:pt idx="208">
                  <c:v>20.VII.21</c:v>
                </c:pt>
                <c:pt idx="209">
                  <c:v>21.VII.21</c:v>
                </c:pt>
                <c:pt idx="210">
                  <c:v>22.VII.21</c:v>
                </c:pt>
                <c:pt idx="211">
                  <c:v>23.VII.21</c:v>
                </c:pt>
                <c:pt idx="212">
                  <c:v>24.VII.21</c:v>
                </c:pt>
                <c:pt idx="213">
                  <c:v>25.VII.21</c:v>
                </c:pt>
                <c:pt idx="214">
                  <c:v>26.VII.21</c:v>
                </c:pt>
                <c:pt idx="215">
                  <c:v>27.VII.21</c:v>
                </c:pt>
                <c:pt idx="216">
                  <c:v>28.VII.21</c:v>
                </c:pt>
                <c:pt idx="217">
                  <c:v>29.VII.21</c:v>
                </c:pt>
                <c:pt idx="218">
                  <c:v>30.VII.21</c:v>
                </c:pt>
                <c:pt idx="219">
                  <c:v>31.VII.21</c:v>
                </c:pt>
                <c:pt idx="220">
                  <c:v>1.VIII.21</c:v>
                </c:pt>
                <c:pt idx="221">
                  <c:v>2.VIII.21</c:v>
                </c:pt>
                <c:pt idx="222">
                  <c:v>3.VIII.21</c:v>
                </c:pt>
                <c:pt idx="223">
                  <c:v>4.VIII.21</c:v>
                </c:pt>
                <c:pt idx="224">
                  <c:v>5.VIII.21</c:v>
                </c:pt>
                <c:pt idx="225">
                  <c:v>6.VIII.21</c:v>
                </c:pt>
                <c:pt idx="226">
                  <c:v>7.VIII.21</c:v>
                </c:pt>
                <c:pt idx="227">
                  <c:v>8.VIII.21</c:v>
                </c:pt>
                <c:pt idx="228">
                  <c:v>9.VIII.21</c:v>
                </c:pt>
                <c:pt idx="229">
                  <c:v>10.VIII.21</c:v>
                </c:pt>
                <c:pt idx="230">
                  <c:v>11.VIII.21</c:v>
                </c:pt>
                <c:pt idx="231">
                  <c:v>12.VIII.21</c:v>
                </c:pt>
                <c:pt idx="232">
                  <c:v>13.VIII.21</c:v>
                </c:pt>
                <c:pt idx="233">
                  <c:v>14.VIII.21</c:v>
                </c:pt>
                <c:pt idx="234">
                  <c:v>15.VIII.21</c:v>
                </c:pt>
                <c:pt idx="235">
                  <c:v>16.VIII.21</c:v>
                </c:pt>
                <c:pt idx="236">
                  <c:v>17.VIII.21</c:v>
                </c:pt>
                <c:pt idx="237">
                  <c:v>18.VIII.21</c:v>
                </c:pt>
                <c:pt idx="238">
                  <c:v>19.VIII.21</c:v>
                </c:pt>
                <c:pt idx="239">
                  <c:v>20.VIII.21</c:v>
                </c:pt>
                <c:pt idx="240">
                  <c:v>21.VIII.21</c:v>
                </c:pt>
                <c:pt idx="241">
                  <c:v>22.VIII.21</c:v>
                </c:pt>
                <c:pt idx="242">
                  <c:v>23.VIII.21</c:v>
                </c:pt>
                <c:pt idx="243">
                  <c:v>24.VIII.21</c:v>
                </c:pt>
                <c:pt idx="244">
                  <c:v>25.VIII.21</c:v>
                </c:pt>
                <c:pt idx="245">
                  <c:v>26.VIII.21</c:v>
                </c:pt>
                <c:pt idx="246">
                  <c:v>27.VIII.21</c:v>
                </c:pt>
                <c:pt idx="247">
                  <c:v>28.VIII.21</c:v>
                </c:pt>
                <c:pt idx="248">
                  <c:v>29.VIII.21</c:v>
                </c:pt>
                <c:pt idx="249">
                  <c:v>30.VIII.21</c:v>
                </c:pt>
                <c:pt idx="250">
                  <c:v>31.VIII.21</c:v>
                </c:pt>
                <c:pt idx="251">
                  <c:v>1.IX.21</c:v>
                </c:pt>
                <c:pt idx="252">
                  <c:v>2.IX.21</c:v>
                </c:pt>
                <c:pt idx="253">
                  <c:v>3.IX.21</c:v>
                </c:pt>
                <c:pt idx="254">
                  <c:v>4.IX.21</c:v>
                </c:pt>
                <c:pt idx="255">
                  <c:v>5.IX.21</c:v>
                </c:pt>
                <c:pt idx="256">
                  <c:v>6.IX.21</c:v>
                </c:pt>
                <c:pt idx="257">
                  <c:v>7.IX.21</c:v>
                </c:pt>
                <c:pt idx="258">
                  <c:v>8.IX.21</c:v>
                </c:pt>
                <c:pt idx="259">
                  <c:v>9.IX.21</c:v>
                </c:pt>
                <c:pt idx="260">
                  <c:v>10.IX.21</c:v>
                </c:pt>
                <c:pt idx="261">
                  <c:v>11.IX.21</c:v>
                </c:pt>
                <c:pt idx="262">
                  <c:v>12.IX.21</c:v>
                </c:pt>
                <c:pt idx="263">
                  <c:v>13.IX.21</c:v>
                </c:pt>
                <c:pt idx="264">
                  <c:v>14.IX.21</c:v>
                </c:pt>
                <c:pt idx="265">
                  <c:v>15.IX.21</c:v>
                </c:pt>
                <c:pt idx="266">
                  <c:v>16.IX.21</c:v>
                </c:pt>
                <c:pt idx="267">
                  <c:v>17.IX.21</c:v>
                </c:pt>
                <c:pt idx="268">
                  <c:v>18.IX.21</c:v>
                </c:pt>
                <c:pt idx="269">
                  <c:v>19.IX.21</c:v>
                </c:pt>
                <c:pt idx="270">
                  <c:v>20.IX.21</c:v>
                </c:pt>
                <c:pt idx="271">
                  <c:v>21.IX.21</c:v>
                </c:pt>
                <c:pt idx="272">
                  <c:v>22.IX.21</c:v>
                </c:pt>
                <c:pt idx="273">
                  <c:v>23.IX.21</c:v>
                </c:pt>
                <c:pt idx="274">
                  <c:v>24.IX.21</c:v>
                </c:pt>
                <c:pt idx="275">
                  <c:v>25.IX.21</c:v>
                </c:pt>
                <c:pt idx="276">
                  <c:v>26.IX.21</c:v>
                </c:pt>
                <c:pt idx="277">
                  <c:v>27.IX.21</c:v>
                </c:pt>
                <c:pt idx="278">
                  <c:v>28.IX.21</c:v>
                </c:pt>
                <c:pt idx="279">
                  <c:v>29.IX.21</c:v>
                </c:pt>
                <c:pt idx="280">
                  <c:v>30.IX.21</c:v>
                </c:pt>
                <c:pt idx="281">
                  <c:v>1.X.21</c:v>
                </c:pt>
                <c:pt idx="282">
                  <c:v>2.X.21</c:v>
                </c:pt>
                <c:pt idx="283">
                  <c:v>3.X.21</c:v>
                </c:pt>
                <c:pt idx="284">
                  <c:v>4.X.21</c:v>
                </c:pt>
                <c:pt idx="285">
                  <c:v>5.X.21</c:v>
                </c:pt>
                <c:pt idx="286">
                  <c:v>6.X.21</c:v>
                </c:pt>
                <c:pt idx="287">
                  <c:v>7.X.21</c:v>
                </c:pt>
                <c:pt idx="288">
                  <c:v>8.X.21</c:v>
                </c:pt>
                <c:pt idx="289">
                  <c:v>9.X.21</c:v>
                </c:pt>
                <c:pt idx="290">
                  <c:v>10.X.21</c:v>
                </c:pt>
                <c:pt idx="291">
                  <c:v>11.X.21</c:v>
                </c:pt>
                <c:pt idx="292">
                  <c:v>12.X.21</c:v>
                </c:pt>
                <c:pt idx="293">
                  <c:v>13.X.21</c:v>
                </c:pt>
                <c:pt idx="294">
                  <c:v>14.X.21</c:v>
                </c:pt>
                <c:pt idx="295">
                  <c:v>15.X.21</c:v>
                </c:pt>
                <c:pt idx="296">
                  <c:v>16.X.21</c:v>
                </c:pt>
                <c:pt idx="297">
                  <c:v>17.X.21</c:v>
                </c:pt>
                <c:pt idx="298">
                  <c:v>18.X.21</c:v>
                </c:pt>
                <c:pt idx="299">
                  <c:v>19.X.21</c:v>
                </c:pt>
                <c:pt idx="300">
                  <c:v>20.X.21</c:v>
                </c:pt>
                <c:pt idx="301">
                  <c:v>21.X.21</c:v>
                </c:pt>
                <c:pt idx="302">
                  <c:v>22.X.21</c:v>
                </c:pt>
                <c:pt idx="303">
                  <c:v>23.X.21</c:v>
                </c:pt>
                <c:pt idx="304">
                  <c:v>24.X.21</c:v>
                </c:pt>
                <c:pt idx="305">
                  <c:v>25.X.21</c:v>
                </c:pt>
                <c:pt idx="306">
                  <c:v>26.X.21</c:v>
                </c:pt>
                <c:pt idx="307">
                  <c:v>27.X.21</c:v>
                </c:pt>
                <c:pt idx="308">
                  <c:v>28.X.21</c:v>
                </c:pt>
                <c:pt idx="309">
                  <c:v>29.X.21</c:v>
                </c:pt>
                <c:pt idx="310">
                  <c:v>30.X.21</c:v>
                </c:pt>
                <c:pt idx="311">
                  <c:v>31.X.21</c:v>
                </c:pt>
                <c:pt idx="312">
                  <c:v>1.XI.21</c:v>
                </c:pt>
                <c:pt idx="313">
                  <c:v>2.XI.21</c:v>
                </c:pt>
                <c:pt idx="314">
                  <c:v>3.XI.21</c:v>
                </c:pt>
                <c:pt idx="315">
                  <c:v>4.XI.21</c:v>
                </c:pt>
                <c:pt idx="316">
                  <c:v>5.XI.21</c:v>
                </c:pt>
                <c:pt idx="317">
                  <c:v>6.XI.21</c:v>
                </c:pt>
                <c:pt idx="318">
                  <c:v>7.XI.21</c:v>
                </c:pt>
                <c:pt idx="319">
                  <c:v>8.XI.21</c:v>
                </c:pt>
                <c:pt idx="320">
                  <c:v>9.XI.21</c:v>
                </c:pt>
                <c:pt idx="321">
                  <c:v>10.XI.21</c:v>
                </c:pt>
                <c:pt idx="322">
                  <c:v>11.XI.21</c:v>
                </c:pt>
                <c:pt idx="323">
                  <c:v>12.XI.21</c:v>
                </c:pt>
                <c:pt idx="324">
                  <c:v>13.XI.21</c:v>
                </c:pt>
                <c:pt idx="325">
                  <c:v>14.XI.21</c:v>
                </c:pt>
                <c:pt idx="326">
                  <c:v>15.XI.21</c:v>
                </c:pt>
                <c:pt idx="327">
                  <c:v>16.XI.21</c:v>
                </c:pt>
                <c:pt idx="328">
                  <c:v>17.XI.21</c:v>
                </c:pt>
                <c:pt idx="329">
                  <c:v>18.XI.21</c:v>
                </c:pt>
                <c:pt idx="330">
                  <c:v>19.XI.21</c:v>
                </c:pt>
                <c:pt idx="331">
                  <c:v>20.XI.21</c:v>
                </c:pt>
                <c:pt idx="332">
                  <c:v>21.XI.21</c:v>
                </c:pt>
                <c:pt idx="333">
                  <c:v>22.XI.21</c:v>
                </c:pt>
                <c:pt idx="334">
                  <c:v>23.XI.21</c:v>
                </c:pt>
                <c:pt idx="335">
                  <c:v>24.XI.21</c:v>
                </c:pt>
                <c:pt idx="336">
                  <c:v>25.XI.21</c:v>
                </c:pt>
                <c:pt idx="337">
                  <c:v>26.XI.21</c:v>
                </c:pt>
                <c:pt idx="338">
                  <c:v>27.XI.21</c:v>
                </c:pt>
                <c:pt idx="339">
                  <c:v>28.XI.21</c:v>
                </c:pt>
                <c:pt idx="340">
                  <c:v>29.XI.21</c:v>
                </c:pt>
                <c:pt idx="341">
                  <c:v>30.XI.21</c:v>
                </c:pt>
                <c:pt idx="342">
                  <c:v>1.XII.21</c:v>
                </c:pt>
                <c:pt idx="343">
                  <c:v>2.XII.21</c:v>
                </c:pt>
                <c:pt idx="344">
                  <c:v>3.XII.21</c:v>
                </c:pt>
                <c:pt idx="345">
                  <c:v>4.XII.21</c:v>
                </c:pt>
                <c:pt idx="346">
                  <c:v>5.XII.21</c:v>
                </c:pt>
                <c:pt idx="347">
                  <c:v>6.XII.21</c:v>
                </c:pt>
                <c:pt idx="348">
                  <c:v>7.XII.21</c:v>
                </c:pt>
                <c:pt idx="349">
                  <c:v>8.XII.21</c:v>
                </c:pt>
                <c:pt idx="350">
                  <c:v>9.XII.21</c:v>
                </c:pt>
                <c:pt idx="351">
                  <c:v>10.XII.21</c:v>
                </c:pt>
                <c:pt idx="352">
                  <c:v>11.XII.21</c:v>
                </c:pt>
                <c:pt idx="353">
                  <c:v>12.XII.21</c:v>
                </c:pt>
                <c:pt idx="354">
                  <c:v>13.XII.21</c:v>
                </c:pt>
                <c:pt idx="355">
                  <c:v>14.XII.21</c:v>
                </c:pt>
                <c:pt idx="356">
                  <c:v>15.XII.21</c:v>
                </c:pt>
                <c:pt idx="357">
                  <c:v>16.XII.21</c:v>
                </c:pt>
                <c:pt idx="358">
                  <c:v>17.XII.21</c:v>
                </c:pt>
                <c:pt idx="359">
                  <c:v>18.XII.21</c:v>
                </c:pt>
                <c:pt idx="360">
                  <c:v>19.XII.21</c:v>
                </c:pt>
                <c:pt idx="361">
                  <c:v>20.XII.21</c:v>
                </c:pt>
                <c:pt idx="362">
                  <c:v>21.XII.21</c:v>
                </c:pt>
                <c:pt idx="363">
                  <c:v>22.XII.21</c:v>
                </c:pt>
                <c:pt idx="364">
                  <c:v>23.XII.21</c:v>
                </c:pt>
                <c:pt idx="365">
                  <c:v>24.XII.21</c:v>
                </c:pt>
                <c:pt idx="366">
                  <c:v>27.XII.21</c:v>
                </c:pt>
                <c:pt idx="367">
                  <c:v>28.XII.21</c:v>
                </c:pt>
                <c:pt idx="368">
                  <c:v>29.XII.21</c:v>
                </c:pt>
                <c:pt idx="369">
                  <c:v>30.XII.21</c:v>
                </c:pt>
                <c:pt idx="370">
                  <c:v>31.XII.21</c:v>
                </c:pt>
                <c:pt idx="371">
                  <c:v>2.I.22</c:v>
                </c:pt>
                <c:pt idx="372">
                  <c:v>3.I.22</c:v>
                </c:pt>
                <c:pt idx="373">
                  <c:v>4.I.22</c:v>
                </c:pt>
                <c:pt idx="374">
                  <c:v>5.I.22</c:v>
                </c:pt>
                <c:pt idx="375">
                  <c:v>6.I.22</c:v>
                </c:pt>
                <c:pt idx="376">
                  <c:v>7.I.22</c:v>
                </c:pt>
                <c:pt idx="377">
                  <c:v>8.I.22</c:v>
                </c:pt>
                <c:pt idx="378">
                  <c:v>9.I.22</c:v>
                </c:pt>
                <c:pt idx="379">
                  <c:v>10.I.22</c:v>
                </c:pt>
                <c:pt idx="380">
                  <c:v>11.I.22</c:v>
                </c:pt>
                <c:pt idx="381">
                  <c:v>12.I.22</c:v>
                </c:pt>
                <c:pt idx="382">
                  <c:v>13.I.22</c:v>
                </c:pt>
                <c:pt idx="383">
                  <c:v>14.I.22</c:v>
                </c:pt>
                <c:pt idx="384">
                  <c:v>15.I.22</c:v>
                </c:pt>
                <c:pt idx="385">
                  <c:v>16.I.22</c:v>
                </c:pt>
                <c:pt idx="386">
                  <c:v>17.I.22</c:v>
                </c:pt>
                <c:pt idx="387">
                  <c:v>18.I.22</c:v>
                </c:pt>
                <c:pt idx="388">
                  <c:v>19.I.22</c:v>
                </c:pt>
                <c:pt idx="389">
                  <c:v>20.I.22</c:v>
                </c:pt>
                <c:pt idx="390">
                  <c:v>21.I.22</c:v>
                </c:pt>
                <c:pt idx="391">
                  <c:v>22.I.22</c:v>
                </c:pt>
                <c:pt idx="392">
                  <c:v>23.I.22</c:v>
                </c:pt>
                <c:pt idx="393">
                  <c:v>24.I.22</c:v>
                </c:pt>
                <c:pt idx="394">
                  <c:v>25.I.22</c:v>
                </c:pt>
                <c:pt idx="395">
                  <c:v>26.I.22</c:v>
                </c:pt>
                <c:pt idx="396">
                  <c:v>27.I.22</c:v>
                </c:pt>
                <c:pt idx="397">
                  <c:v>28.I.22</c:v>
                </c:pt>
                <c:pt idx="398">
                  <c:v>29.I.22</c:v>
                </c:pt>
                <c:pt idx="399">
                  <c:v>30.I.22</c:v>
                </c:pt>
                <c:pt idx="400">
                  <c:v>31.I.22</c:v>
                </c:pt>
                <c:pt idx="401">
                  <c:v>1.II.22</c:v>
                </c:pt>
                <c:pt idx="402">
                  <c:v>2.II.22</c:v>
                </c:pt>
                <c:pt idx="403">
                  <c:v>3.II.22</c:v>
                </c:pt>
                <c:pt idx="404">
                  <c:v>4.II.22</c:v>
                </c:pt>
                <c:pt idx="405">
                  <c:v>5.II.22</c:v>
                </c:pt>
                <c:pt idx="406">
                  <c:v>6.II.22</c:v>
                </c:pt>
                <c:pt idx="407">
                  <c:v>7.II.22</c:v>
                </c:pt>
                <c:pt idx="408">
                  <c:v>8.II.22</c:v>
                </c:pt>
                <c:pt idx="409">
                  <c:v>9.II.22</c:v>
                </c:pt>
                <c:pt idx="410">
                  <c:v>10.II.22</c:v>
                </c:pt>
                <c:pt idx="411">
                  <c:v>11.II.22</c:v>
                </c:pt>
                <c:pt idx="412">
                  <c:v>12.II.22</c:v>
                </c:pt>
                <c:pt idx="413">
                  <c:v>14.II.22</c:v>
                </c:pt>
                <c:pt idx="414">
                  <c:v>15.II.22</c:v>
                </c:pt>
                <c:pt idx="415">
                  <c:v>16.II.22</c:v>
                </c:pt>
                <c:pt idx="416">
                  <c:v>17.II.22</c:v>
                </c:pt>
                <c:pt idx="417">
                  <c:v>18.II.22</c:v>
                </c:pt>
                <c:pt idx="418">
                  <c:v>19.II.22</c:v>
                </c:pt>
                <c:pt idx="419">
                  <c:v>21.II.22</c:v>
                </c:pt>
                <c:pt idx="420">
                  <c:v>22.II.22</c:v>
                </c:pt>
                <c:pt idx="421">
                  <c:v>23.II.22</c:v>
                </c:pt>
                <c:pt idx="422">
                  <c:v>24.II.22</c:v>
                </c:pt>
                <c:pt idx="423">
                  <c:v>25.II.22</c:v>
                </c:pt>
                <c:pt idx="424">
                  <c:v>28.II.22</c:v>
                </c:pt>
                <c:pt idx="425">
                  <c:v>1.III.22</c:v>
                </c:pt>
                <c:pt idx="426">
                  <c:v>2.III.22</c:v>
                </c:pt>
                <c:pt idx="427">
                  <c:v>3.III.22</c:v>
                </c:pt>
                <c:pt idx="428">
                  <c:v>4.III.22</c:v>
                </c:pt>
                <c:pt idx="429">
                  <c:v>5.III.22</c:v>
                </c:pt>
                <c:pt idx="430">
                  <c:v>7.III.22</c:v>
                </c:pt>
                <c:pt idx="431">
                  <c:v>8.III.22</c:v>
                </c:pt>
                <c:pt idx="432">
                  <c:v>9.III.22</c:v>
                </c:pt>
                <c:pt idx="433">
                  <c:v>10.III.22</c:v>
                </c:pt>
                <c:pt idx="434">
                  <c:v>11.III.22</c:v>
                </c:pt>
              </c:strCache>
            </c:strRef>
          </c:cat>
          <c:val>
            <c:numRef>
              <c:f>List1!$F$5:$PX$5</c:f>
              <c:numCache>
                <c:formatCode>General</c:formatCode>
                <c:ptCount val="435"/>
                <c:pt idx="3">
                  <c:v>448</c:v>
                </c:pt>
                <c:pt idx="4">
                  <c:v>1180</c:v>
                </c:pt>
                <c:pt idx="5">
                  <c:v>2130</c:v>
                </c:pt>
                <c:pt idx="6">
                  <c:v>3072</c:v>
                </c:pt>
                <c:pt idx="7">
                  <c:v>3409</c:v>
                </c:pt>
                <c:pt idx="8">
                  <c:v>3498</c:v>
                </c:pt>
                <c:pt idx="9">
                  <c:v>3889</c:v>
                </c:pt>
                <c:pt idx="10">
                  <c:v>4202</c:v>
                </c:pt>
                <c:pt idx="11">
                  <c:v>5396</c:v>
                </c:pt>
                <c:pt idx="12">
                  <c:v>6708</c:v>
                </c:pt>
                <c:pt idx="13">
                  <c:v>8206</c:v>
                </c:pt>
                <c:pt idx="14">
                  <c:v>9882</c:v>
                </c:pt>
                <c:pt idx="15">
                  <c:v>11690</c:v>
                </c:pt>
                <c:pt idx="16">
                  <c:v>12099</c:v>
                </c:pt>
                <c:pt idx="17">
                  <c:v>12392</c:v>
                </c:pt>
                <c:pt idx="18">
                  <c:v>14138</c:v>
                </c:pt>
                <c:pt idx="19">
                  <c:v>16083</c:v>
                </c:pt>
                <c:pt idx="20">
                  <c:v>17784</c:v>
                </c:pt>
                <c:pt idx="21">
                  <c:v>19687</c:v>
                </c:pt>
                <c:pt idx="22">
                  <c:v>21487</c:v>
                </c:pt>
                <c:pt idx="23">
                  <c:v>21822</c:v>
                </c:pt>
                <c:pt idx="24">
                  <c:v>22047</c:v>
                </c:pt>
                <c:pt idx="25">
                  <c:v>23603</c:v>
                </c:pt>
                <c:pt idx="26">
                  <c:v>24780</c:v>
                </c:pt>
                <c:pt idx="27">
                  <c:v>25907</c:v>
                </c:pt>
                <c:pt idx="28">
                  <c:v>26903</c:v>
                </c:pt>
                <c:pt idx="29">
                  <c:v>27733</c:v>
                </c:pt>
                <c:pt idx="30">
                  <c:v>27902</c:v>
                </c:pt>
                <c:pt idx="31">
                  <c:v>27984</c:v>
                </c:pt>
                <c:pt idx="32">
                  <c:v>28496</c:v>
                </c:pt>
                <c:pt idx="33">
                  <c:v>29035</c:v>
                </c:pt>
                <c:pt idx="34">
                  <c:v>29434</c:v>
                </c:pt>
                <c:pt idx="35">
                  <c:v>29810</c:v>
                </c:pt>
                <c:pt idx="36">
                  <c:v>30142</c:v>
                </c:pt>
                <c:pt idx="37">
                  <c:v>30167</c:v>
                </c:pt>
                <c:pt idx="38">
                  <c:v>30188</c:v>
                </c:pt>
                <c:pt idx="39">
                  <c:v>30432</c:v>
                </c:pt>
                <c:pt idx="40">
                  <c:v>30668</c:v>
                </c:pt>
                <c:pt idx="41">
                  <c:v>30891</c:v>
                </c:pt>
                <c:pt idx="42">
                  <c:v>31086</c:v>
                </c:pt>
                <c:pt idx="43">
                  <c:v>31361</c:v>
                </c:pt>
                <c:pt idx="44">
                  <c:v>31381</c:v>
                </c:pt>
                <c:pt idx="45">
                  <c:v>31393</c:v>
                </c:pt>
                <c:pt idx="46">
                  <c:v>31527</c:v>
                </c:pt>
                <c:pt idx="47">
                  <c:v>31665</c:v>
                </c:pt>
                <c:pt idx="48">
                  <c:v>31860</c:v>
                </c:pt>
                <c:pt idx="49">
                  <c:v>32091</c:v>
                </c:pt>
                <c:pt idx="50">
                  <c:v>32369</c:v>
                </c:pt>
                <c:pt idx="51">
                  <c:v>32468</c:v>
                </c:pt>
                <c:pt idx="52">
                  <c:v>32532</c:v>
                </c:pt>
                <c:pt idx="53">
                  <c:v>32888</c:v>
                </c:pt>
                <c:pt idx="54">
                  <c:v>33185</c:v>
                </c:pt>
                <c:pt idx="55">
                  <c:v>33447</c:v>
                </c:pt>
                <c:pt idx="56">
                  <c:v>33785</c:v>
                </c:pt>
                <c:pt idx="57">
                  <c:v>34231</c:v>
                </c:pt>
                <c:pt idx="58">
                  <c:v>34337</c:v>
                </c:pt>
                <c:pt idx="59">
                  <c:v>34384</c:v>
                </c:pt>
                <c:pt idx="60">
                  <c:v>34694</c:v>
                </c:pt>
                <c:pt idx="61">
                  <c:v>35173</c:v>
                </c:pt>
                <c:pt idx="62">
                  <c:v>35771</c:v>
                </c:pt>
                <c:pt idx="63">
                  <c:v>36424</c:v>
                </c:pt>
                <c:pt idx="64">
                  <c:v>36966</c:v>
                </c:pt>
                <c:pt idx="65">
                  <c:v>37040</c:v>
                </c:pt>
                <c:pt idx="66">
                  <c:v>37083</c:v>
                </c:pt>
                <c:pt idx="67">
                  <c:v>37629</c:v>
                </c:pt>
                <c:pt idx="68">
                  <c:v>38224</c:v>
                </c:pt>
                <c:pt idx="69">
                  <c:v>38785</c:v>
                </c:pt>
                <c:pt idx="70">
                  <c:v>39328</c:v>
                </c:pt>
                <c:pt idx="71">
                  <c:v>39919</c:v>
                </c:pt>
                <c:pt idx="72">
                  <c:v>40086</c:v>
                </c:pt>
                <c:pt idx="73">
                  <c:v>40195</c:v>
                </c:pt>
                <c:pt idx="74">
                  <c:v>40522</c:v>
                </c:pt>
                <c:pt idx="75">
                  <c:v>40919</c:v>
                </c:pt>
                <c:pt idx="76">
                  <c:v>41321</c:v>
                </c:pt>
                <c:pt idx="77">
                  <c:v>41798</c:v>
                </c:pt>
                <c:pt idx="78">
                  <c:v>42202</c:v>
                </c:pt>
                <c:pt idx="79">
                  <c:v>42340</c:v>
                </c:pt>
                <c:pt idx="80">
                  <c:v>42425</c:v>
                </c:pt>
                <c:pt idx="81">
                  <c:v>42677</c:v>
                </c:pt>
                <c:pt idx="82">
                  <c:v>43039</c:v>
                </c:pt>
                <c:pt idx="83">
                  <c:v>43394</c:v>
                </c:pt>
                <c:pt idx="84">
                  <c:v>43749</c:v>
                </c:pt>
                <c:pt idx="85">
                  <c:v>44078</c:v>
                </c:pt>
                <c:pt idx="86">
                  <c:v>44193</c:v>
                </c:pt>
                <c:pt idx="87">
                  <c:v>44263</c:v>
                </c:pt>
                <c:pt idx="88">
                  <c:v>44435</c:v>
                </c:pt>
                <c:pt idx="89">
                  <c:v>44628</c:v>
                </c:pt>
                <c:pt idx="90">
                  <c:v>44775</c:v>
                </c:pt>
                <c:pt idx="91">
                  <c:v>44968</c:v>
                </c:pt>
                <c:pt idx="92">
                  <c:v>45187</c:v>
                </c:pt>
                <c:pt idx="93">
                  <c:v>45250</c:v>
                </c:pt>
                <c:pt idx="94">
                  <c:v>45291</c:v>
                </c:pt>
                <c:pt idx="95">
                  <c:v>45416</c:v>
                </c:pt>
                <c:pt idx="96">
                  <c:v>45576</c:v>
                </c:pt>
                <c:pt idx="97">
                  <c:v>45735</c:v>
                </c:pt>
                <c:pt idx="98">
                  <c:v>45955</c:v>
                </c:pt>
                <c:pt idx="99">
                  <c:v>46032</c:v>
                </c:pt>
                <c:pt idx="100">
                  <c:v>46052</c:v>
                </c:pt>
                <c:pt idx="101">
                  <c:v>46080</c:v>
                </c:pt>
                <c:pt idx="102">
                  <c:v>46087</c:v>
                </c:pt>
                <c:pt idx="103">
                  <c:v>46177</c:v>
                </c:pt>
                <c:pt idx="104">
                  <c:v>46271</c:v>
                </c:pt>
                <c:pt idx="105">
                  <c:v>46439</c:v>
                </c:pt>
                <c:pt idx="106">
                  <c:v>46639</c:v>
                </c:pt>
                <c:pt idx="107">
                  <c:v>46684</c:v>
                </c:pt>
                <c:pt idx="108">
                  <c:v>46717</c:v>
                </c:pt>
                <c:pt idx="109">
                  <c:v>46853</c:v>
                </c:pt>
                <c:pt idx="110">
                  <c:v>46975</c:v>
                </c:pt>
                <c:pt idx="111">
                  <c:v>47080</c:v>
                </c:pt>
                <c:pt idx="112">
                  <c:v>47237</c:v>
                </c:pt>
                <c:pt idx="113">
                  <c:v>47412</c:v>
                </c:pt>
                <c:pt idx="114">
                  <c:v>47453</c:v>
                </c:pt>
                <c:pt idx="115">
                  <c:v>47508</c:v>
                </c:pt>
                <c:pt idx="116">
                  <c:v>47635</c:v>
                </c:pt>
                <c:pt idx="117">
                  <c:v>47755</c:v>
                </c:pt>
                <c:pt idx="118">
                  <c:v>47889</c:v>
                </c:pt>
                <c:pt idx="119">
                  <c:v>48035</c:v>
                </c:pt>
                <c:pt idx="120">
                  <c:v>48192</c:v>
                </c:pt>
                <c:pt idx="121">
                  <c:v>48248</c:v>
                </c:pt>
                <c:pt idx="122">
                  <c:v>48283</c:v>
                </c:pt>
                <c:pt idx="123">
                  <c:v>48395</c:v>
                </c:pt>
                <c:pt idx="124">
                  <c:v>48516</c:v>
                </c:pt>
                <c:pt idx="125">
                  <c:v>48635</c:v>
                </c:pt>
                <c:pt idx="126">
                  <c:v>48768</c:v>
                </c:pt>
                <c:pt idx="127">
                  <c:v>48907</c:v>
                </c:pt>
                <c:pt idx="128">
                  <c:v>48936</c:v>
                </c:pt>
                <c:pt idx="129">
                  <c:v>48965</c:v>
                </c:pt>
                <c:pt idx="130">
                  <c:v>49085</c:v>
                </c:pt>
                <c:pt idx="131">
                  <c:v>49210</c:v>
                </c:pt>
                <c:pt idx="132">
                  <c:v>49307</c:v>
                </c:pt>
                <c:pt idx="133">
                  <c:v>49424</c:v>
                </c:pt>
                <c:pt idx="134">
                  <c:v>49597</c:v>
                </c:pt>
                <c:pt idx="135">
                  <c:v>49659</c:v>
                </c:pt>
                <c:pt idx="136">
                  <c:v>49691</c:v>
                </c:pt>
                <c:pt idx="137">
                  <c:v>49790</c:v>
                </c:pt>
                <c:pt idx="138">
                  <c:v>49907</c:v>
                </c:pt>
                <c:pt idx="139">
                  <c:v>50037</c:v>
                </c:pt>
                <c:pt idx="140">
                  <c:v>50195</c:v>
                </c:pt>
                <c:pt idx="141">
                  <c:v>50321</c:v>
                </c:pt>
                <c:pt idx="142">
                  <c:v>50392</c:v>
                </c:pt>
                <c:pt idx="143">
                  <c:v>50424</c:v>
                </c:pt>
                <c:pt idx="144">
                  <c:v>50506</c:v>
                </c:pt>
                <c:pt idx="145">
                  <c:v>50598</c:v>
                </c:pt>
                <c:pt idx="146">
                  <c:v>50683</c:v>
                </c:pt>
                <c:pt idx="147">
                  <c:v>50783</c:v>
                </c:pt>
                <c:pt idx="148">
                  <c:v>50890</c:v>
                </c:pt>
                <c:pt idx="149">
                  <c:v>50920</c:v>
                </c:pt>
                <c:pt idx="150">
                  <c:v>50935</c:v>
                </c:pt>
                <c:pt idx="151">
                  <c:v>50984</c:v>
                </c:pt>
                <c:pt idx="152">
                  <c:v>51044</c:v>
                </c:pt>
                <c:pt idx="153">
                  <c:v>51136</c:v>
                </c:pt>
                <c:pt idx="154">
                  <c:v>51218</c:v>
                </c:pt>
                <c:pt idx="155">
                  <c:v>51322</c:v>
                </c:pt>
                <c:pt idx="156">
                  <c:v>51359</c:v>
                </c:pt>
                <c:pt idx="157">
                  <c:v>51392</c:v>
                </c:pt>
                <c:pt idx="158">
                  <c:v>51467</c:v>
                </c:pt>
                <c:pt idx="159">
                  <c:v>51547</c:v>
                </c:pt>
                <c:pt idx="160">
                  <c:v>51641</c:v>
                </c:pt>
                <c:pt idx="161">
                  <c:v>51712</c:v>
                </c:pt>
                <c:pt idx="162">
                  <c:v>51810</c:v>
                </c:pt>
                <c:pt idx="163">
                  <c:v>51837</c:v>
                </c:pt>
                <c:pt idx="164">
                  <c:v>51870</c:v>
                </c:pt>
                <c:pt idx="165">
                  <c:v>51949</c:v>
                </c:pt>
                <c:pt idx="166">
                  <c:v>52047</c:v>
                </c:pt>
                <c:pt idx="167">
                  <c:v>52134</c:v>
                </c:pt>
                <c:pt idx="168">
                  <c:v>52219</c:v>
                </c:pt>
                <c:pt idx="169">
                  <c:v>52313</c:v>
                </c:pt>
                <c:pt idx="170">
                  <c:v>52342</c:v>
                </c:pt>
                <c:pt idx="171">
                  <c:v>52372</c:v>
                </c:pt>
                <c:pt idx="172">
                  <c:v>52442</c:v>
                </c:pt>
                <c:pt idx="173">
                  <c:v>52496</c:v>
                </c:pt>
                <c:pt idx="174">
                  <c:v>52571</c:v>
                </c:pt>
                <c:pt idx="175">
                  <c:v>52649</c:v>
                </c:pt>
                <c:pt idx="176">
                  <c:v>52727</c:v>
                </c:pt>
                <c:pt idx="177">
                  <c:v>52755</c:v>
                </c:pt>
                <c:pt idx="178">
                  <c:v>52780</c:v>
                </c:pt>
                <c:pt idx="179">
                  <c:v>52819</c:v>
                </c:pt>
                <c:pt idx="180">
                  <c:v>52869</c:v>
                </c:pt>
                <c:pt idx="181">
                  <c:v>52924</c:v>
                </c:pt>
                <c:pt idx="182">
                  <c:v>52976</c:v>
                </c:pt>
                <c:pt idx="183">
                  <c:v>53033</c:v>
                </c:pt>
                <c:pt idx="184">
                  <c:v>53047</c:v>
                </c:pt>
                <c:pt idx="185">
                  <c:v>53059</c:v>
                </c:pt>
                <c:pt idx="186">
                  <c:v>53103</c:v>
                </c:pt>
                <c:pt idx="187">
                  <c:v>53148</c:v>
                </c:pt>
                <c:pt idx="188">
                  <c:v>53206</c:v>
                </c:pt>
                <c:pt idx="189">
                  <c:v>53250</c:v>
                </c:pt>
                <c:pt idx="190">
                  <c:v>53305</c:v>
                </c:pt>
                <c:pt idx="191">
                  <c:v>53317</c:v>
                </c:pt>
                <c:pt idx="192">
                  <c:v>53329</c:v>
                </c:pt>
                <c:pt idx="193">
                  <c:v>53335</c:v>
                </c:pt>
                <c:pt idx="194">
                  <c:v>53344</c:v>
                </c:pt>
                <c:pt idx="195">
                  <c:v>53384</c:v>
                </c:pt>
                <c:pt idx="196">
                  <c:v>53439</c:v>
                </c:pt>
                <c:pt idx="197">
                  <c:v>53487</c:v>
                </c:pt>
                <c:pt idx="198">
                  <c:v>53502</c:v>
                </c:pt>
                <c:pt idx="199">
                  <c:v>53516</c:v>
                </c:pt>
                <c:pt idx="200">
                  <c:v>53564</c:v>
                </c:pt>
                <c:pt idx="201">
                  <c:v>53607</c:v>
                </c:pt>
                <c:pt idx="202">
                  <c:v>53653</c:v>
                </c:pt>
                <c:pt idx="203">
                  <c:v>53713</c:v>
                </c:pt>
                <c:pt idx="204">
                  <c:v>53768</c:v>
                </c:pt>
                <c:pt idx="205">
                  <c:v>53790</c:v>
                </c:pt>
                <c:pt idx="206">
                  <c:v>53809</c:v>
                </c:pt>
                <c:pt idx="207">
                  <c:v>53858</c:v>
                </c:pt>
                <c:pt idx="208">
                  <c:v>53904</c:v>
                </c:pt>
                <c:pt idx="209">
                  <c:v>53973</c:v>
                </c:pt>
                <c:pt idx="210">
                  <c:v>54011</c:v>
                </c:pt>
                <c:pt idx="211">
                  <c:v>54044</c:v>
                </c:pt>
                <c:pt idx="212">
                  <c:v>54050</c:v>
                </c:pt>
                <c:pt idx="213">
                  <c:v>54059</c:v>
                </c:pt>
                <c:pt idx="214">
                  <c:v>54100</c:v>
                </c:pt>
                <c:pt idx="215">
                  <c:v>54151</c:v>
                </c:pt>
                <c:pt idx="216">
                  <c:v>54185</c:v>
                </c:pt>
                <c:pt idx="217">
                  <c:v>54213</c:v>
                </c:pt>
                <c:pt idx="218">
                  <c:v>54257</c:v>
                </c:pt>
                <c:pt idx="219">
                  <c:v>54274</c:v>
                </c:pt>
                <c:pt idx="220">
                  <c:v>54287</c:v>
                </c:pt>
                <c:pt idx="221">
                  <c:v>54324</c:v>
                </c:pt>
                <c:pt idx="222">
                  <c:v>54350</c:v>
                </c:pt>
                <c:pt idx="223">
                  <c:v>54390</c:v>
                </c:pt>
                <c:pt idx="224">
                  <c:v>54421</c:v>
                </c:pt>
                <c:pt idx="225">
                  <c:v>54454</c:v>
                </c:pt>
                <c:pt idx="226">
                  <c:v>54467</c:v>
                </c:pt>
                <c:pt idx="227">
                  <c:v>54472</c:v>
                </c:pt>
                <c:pt idx="228">
                  <c:v>54494</c:v>
                </c:pt>
                <c:pt idx="229">
                  <c:v>54509</c:v>
                </c:pt>
                <c:pt idx="230">
                  <c:v>54529</c:v>
                </c:pt>
                <c:pt idx="231">
                  <c:v>54552</c:v>
                </c:pt>
                <c:pt idx="232">
                  <c:v>54577</c:v>
                </c:pt>
                <c:pt idx="233">
                  <c:v>54587</c:v>
                </c:pt>
                <c:pt idx="234">
                  <c:v>54592</c:v>
                </c:pt>
                <c:pt idx="235">
                  <c:v>54609</c:v>
                </c:pt>
                <c:pt idx="236">
                  <c:v>54633</c:v>
                </c:pt>
                <c:pt idx="237">
                  <c:v>54656</c:v>
                </c:pt>
                <c:pt idx="238">
                  <c:v>54678</c:v>
                </c:pt>
                <c:pt idx="239">
                  <c:v>54711</c:v>
                </c:pt>
                <c:pt idx="240">
                  <c:v>54721</c:v>
                </c:pt>
                <c:pt idx="241">
                  <c:v>54724</c:v>
                </c:pt>
                <c:pt idx="242">
                  <c:v>54736</c:v>
                </c:pt>
                <c:pt idx="243">
                  <c:v>54764</c:v>
                </c:pt>
                <c:pt idx="244">
                  <c:v>54788</c:v>
                </c:pt>
                <c:pt idx="245">
                  <c:v>54815</c:v>
                </c:pt>
                <c:pt idx="246">
                  <c:v>54843</c:v>
                </c:pt>
                <c:pt idx="247">
                  <c:v>54845</c:v>
                </c:pt>
                <c:pt idx="248">
                  <c:v>54852</c:v>
                </c:pt>
                <c:pt idx="249">
                  <c:v>54874</c:v>
                </c:pt>
                <c:pt idx="250">
                  <c:v>54899</c:v>
                </c:pt>
                <c:pt idx="251">
                  <c:v>54919</c:v>
                </c:pt>
                <c:pt idx="252">
                  <c:v>54947</c:v>
                </c:pt>
                <c:pt idx="253">
                  <c:v>54973</c:v>
                </c:pt>
                <c:pt idx="254">
                  <c:v>54981</c:v>
                </c:pt>
                <c:pt idx="255">
                  <c:v>54986</c:v>
                </c:pt>
                <c:pt idx="256">
                  <c:v>54999</c:v>
                </c:pt>
                <c:pt idx="257">
                  <c:v>55012</c:v>
                </c:pt>
                <c:pt idx="258">
                  <c:v>55032</c:v>
                </c:pt>
                <c:pt idx="259">
                  <c:v>55060</c:v>
                </c:pt>
                <c:pt idx="260">
                  <c:v>55085</c:v>
                </c:pt>
                <c:pt idx="261">
                  <c:v>55087</c:v>
                </c:pt>
                <c:pt idx="262">
                  <c:v>55090</c:v>
                </c:pt>
                <c:pt idx="263">
                  <c:v>55109</c:v>
                </c:pt>
                <c:pt idx="264">
                  <c:v>55127</c:v>
                </c:pt>
                <c:pt idx="265">
                  <c:v>55142</c:v>
                </c:pt>
                <c:pt idx="266">
                  <c:v>55160</c:v>
                </c:pt>
                <c:pt idx="267">
                  <c:v>55185</c:v>
                </c:pt>
                <c:pt idx="268">
                  <c:v>55190</c:v>
                </c:pt>
                <c:pt idx="269">
                  <c:v>55190</c:v>
                </c:pt>
                <c:pt idx="270">
                  <c:v>55210</c:v>
                </c:pt>
                <c:pt idx="271">
                  <c:v>55218</c:v>
                </c:pt>
                <c:pt idx="272">
                  <c:v>55229</c:v>
                </c:pt>
                <c:pt idx="273">
                  <c:v>55252</c:v>
                </c:pt>
                <c:pt idx="274">
                  <c:v>55277</c:v>
                </c:pt>
                <c:pt idx="275">
                  <c:v>55283</c:v>
                </c:pt>
                <c:pt idx="276">
                  <c:v>55283</c:v>
                </c:pt>
                <c:pt idx="277">
                  <c:v>55295</c:v>
                </c:pt>
                <c:pt idx="278">
                  <c:v>55295</c:v>
                </c:pt>
                <c:pt idx="279">
                  <c:v>55312</c:v>
                </c:pt>
                <c:pt idx="280">
                  <c:v>55327</c:v>
                </c:pt>
                <c:pt idx="281">
                  <c:v>55347</c:v>
                </c:pt>
                <c:pt idx="282">
                  <c:v>55353</c:v>
                </c:pt>
                <c:pt idx="283">
                  <c:v>55353</c:v>
                </c:pt>
                <c:pt idx="284">
                  <c:v>55362</c:v>
                </c:pt>
                <c:pt idx="285">
                  <c:v>55369</c:v>
                </c:pt>
                <c:pt idx="286">
                  <c:v>55381</c:v>
                </c:pt>
                <c:pt idx="287">
                  <c:v>55399</c:v>
                </c:pt>
                <c:pt idx="288">
                  <c:v>55413</c:v>
                </c:pt>
                <c:pt idx="289">
                  <c:v>55419</c:v>
                </c:pt>
                <c:pt idx="290">
                  <c:v>55419</c:v>
                </c:pt>
                <c:pt idx="291">
                  <c:v>55438</c:v>
                </c:pt>
                <c:pt idx="292">
                  <c:v>55456</c:v>
                </c:pt>
                <c:pt idx="293">
                  <c:v>55463</c:v>
                </c:pt>
                <c:pt idx="294">
                  <c:v>55473</c:v>
                </c:pt>
                <c:pt idx="295">
                  <c:v>55490</c:v>
                </c:pt>
                <c:pt idx="296">
                  <c:v>55492</c:v>
                </c:pt>
                <c:pt idx="297">
                  <c:v>55494</c:v>
                </c:pt>
                <c:pt idx="298">
                  <c:v>55515</c:v>
                </c:pt>
                <c:pt idx="299">
                  <c:v>55522</c:v>
                </c:pt>
                <c:pt idx="300">
                  <c:v>55536</c:v>
                </c:pt>
                <c:pt idx="301">
                  <c:v>55561</c:v>
                </c:pt>
                <c:pt idx="302">
                  <c:v>55600</c:v>
                </c:pt>
                <c:pt idx="303">
                  <c:v>55607</c:v>
                </c:pt>
                <c:pt idx="304">
                  <c:v>55613</c:v>
                </c:pt>
                <c:pt idx="305">
                  <c:v>55634</c:v>
                </c:pt>
                <c:pt idx="306">
                  <c:v>55671</c:v>
                </c:pt>
                <c:pt idx="307">
                  <c:v>55718</c:v>
                </c:pt>
                <c:pt idx="308">
                  <c:v>55725</c:v>
                </c:pt>
                <c:pt idx="309">
                  <c:v>55759</c:v>
                </c:pt>
                <c:pt idx="310">
                  <c:v>55771</c:v>
                </c:pt>
                <c:pt idx="311">
                  <c:v>55774</c:v>
                </c:pt>
                <c:pt idx="312">
                  <c:v>55818</c:v>
                </c:pt>
                <c:pt idx="313">
                  <c:v>55858</c:v>
                </c:pt>
                <c:pt idx="314">
                  <c:v>55893</c:v>
                </c:pt>
                <c:pt idx="315">
                  <c:v>55951</c:v>
                </c:pt>
                <c:pt idx="316">
                  <c:v>56014</c:v>
                </c:pt>
                <c:pt idx="317">
                  <c:v>56038</c:v>
                </c:pt>
                <c:pt idx="318">
                  <c:v>56051</c:v>
                </c:pt>
                <c:pt idx="319">
                  <c:v>56081</c:v>
                </c:pt>
                <c:pt idx="320">
                  <c:v>56116</c:v>
                </c:pt>
                <c:pt idx="321">
                  <c:v>56149</c:v>
                </c:pt>
                <c:pt idx="322">
                  <c:v>56183</c:v>
                </c:pt>
                <c:pt idx="323">
                  <c:v>56247</c:v>
                </c:pt>
                <c:pt idx="324">
                  <c:v>56258</c:v>
                </c:pt>
                <c:pt idx="325">
                  <c:v>56267</c:v>
                </c:pt>
                <c:pt idx="326">
                  <c:v>56314</c:v>
                </c:pt>
                <c:pt idx="327">
                  <c:v>56369</c:v>
                </c:pt>
                <c:pt idx="328">
                  <c:v>56384</c:v>
                </c:pt>
                <c:pt idx="329">
                  <c:v>56429</c:v>
                </c:pt>
                <c:pt idx="330">
                  <c:v>56496</c:v>
                </c:pt>
                <c:pt idx="331">
                  <c:v>56522</c:v>
                </c:pt>
                <c:pt idx="332">
                  <c:v>56533</c:v>
                </c:pt>
                <c:pt idx="333">
                  <c:v>56581</c:v>
                </c:pt>
                <c:pt idx="334">
                  <c:v>56630</c:v>
                </c:pt>
                <c:pt idx="335">
                  <c:v>56665</c:v>
                </c:pt>
                <c:pt idx="336">
                  <c:v>56716</c:v>
                </c:pt>
                <c:pt idx="337">
                  <c:v>56777</c:v>
                </c:pt>
                <c:pt idx="338">
                  <c:v>56787</c:v>
                </c:pt>
                <c:pt idx="339">
                  <c:v>56792</c:v>
                </c:pt>
                <c:pt idx="340">
                  <c:v>56822</c:v>
                </c:pt>
                <c:pt idx="341">
                  <c:v>56850</c:v>
                </c:pt>
                <c:pt idx="342">
                  <c:v>56883</c:v>
                </c:pt>
                <c:pt idx="343">
                  <c:v>56909</c:v>
                </c:pt>
                <c:pt idx="344">
                  <c:v>56940</c:v>
                </c:pt>
                <c:pt idx="345">
                  <c:v>56944</c:v>
                </c:pt>
                <c:pt idx="346">
                  <c:v>56946</c:v>
                </c:pt>
                <c:pt idx="347">
                  <c:v>56965</c:v>
                </c:pt>
                <c:pt idx="348">
                  <c:v>56983</c:v>
                </c:pt>
                <c:pt idx="349">
                  <c:v>57007</c:v>
                </c:pt>
                <c:pt idx="350">
                  <c:v>57026</c:v>
                </c:pt>
                <c:pt idx="351">
                  <c:v>57045</c:v>
                </c:pt>
                <c:pt idx="352">
                  <c:v>57049</c:v>
                </c:pt>
                <c:pt idx="353">
                  <c:v>57051</c:v>
                </c:pt>
                <c:pt idx="354">
                  <c:v>57064</c:v>
                </c:pt>
                <c:pt idx="355">
                  <c:v>57075</c:v>
                </c:pt>
                <c:pt idx="356">
                  <c:v>57087</c:v>
                </c:pt>
                <c:pt idx="357">
                  <c:v>57104</c:v>
                </c:pt>
                <c:pt idx="358">
                  <c:v>57121</c:v>
                </c:pt>
                <c:pt idx="359">
                  <c:v>57125</c:v>
                </c:pt>
                <c:pt idx="360">
                  <c:v>57127</c:v>
                </c:pt>
                <c:pt idx="361">
                  <c:v>57136</c:v>
                </c:pt>
                <c:pt idx="362">
                  <c:v>57143</c:v>
                </c:pt>
                <c:pt idx="363">
                  <c:v>57156</c:v>
                </c:pt>
                <c:pt idx="364">
                  <c:v>57158</c:v>
                </c:pt>
                <c:pt idx="365">
                  <c:v>57159</c:v>
                </c:pt>
                <c:pt idx="366">
                  <c:v>57166</c:v>
                </c:pt>
                <c:pt idx="367">
                  <c:v>57171</c:v>
                </c:pt>
                <c:pt idx="368">
                  <c:v>57174</c:v>
                </c:pt>
                <c:pt idx="369">
                  <c:v>57180</c:v>
                </c:pt>
                <c:pt idx="370">
                  <c:v>57182</c:v>
                </c:pt>
                <c:pt idx="371">
                  <c:v>57183</c:v>
                </c:pt>
                <c:pt idx="372">
                  <c:v>57188</c:v>
                </c:pt>
                <c:pt idx="373">
                  <c:v>57194</c:v>
                </c:pt>
                <c:pt idx="374">
                  <c:v>57204</c:v>
                </c:pt>
                <c:pt idx="375">
                  <c:v>57213</c:v>
                </c:pt>
                <c:pt idx="376">
                  <c:v>57228</c:v>
                </c:pt>
                <c:pt idx="377">
                  <c:v>57231</c:v>
                </c:pt>
                <c:pt idx="378">
                  <c:v>57232</c:v>
                </c:pt>
                <c:pt idx="379">
                  <c:v>57240</c:v>
                </c:pt>
                <c:pt idx="380">
                  <c:v>57246</c:v>
                </c:pt>
                <c:pt idx="381">
                  <c:v>57258</c:v>
                </c:pt>
                <c:pt idx="382">
                  <c:v>57269</c:v>
                </c:pt>
                <c:pt idx="383">
                  <c:v>57281</c:v>
                </c:pt>
                <c:pt idx="384">
                  <c:v>57284</c:v>
                </c:pt>
                <c:pt idx="385">
                  <c:v>57284</c:v>
                </c:pt>
                <c:pt idx="386">
                  <c:v>57293</c:v>
                </c:pt>
                <c:pt idx="387">
                  <c:v>57301</c:v>
                </c:pt>
                <c:pt idx="388">
                  <c:v>57304</c:v>
                </c:pt>
                <c:pt idx="389">
                  <c:v>57312</c:v>
                </c:pt>
                <c:pt idx="390">
                  <c:v>57321</c:v>
                </c:pt>
                <c:pt idx="391">
                  <c:v>57322</c:v>
                </c:pt>
                <c:pt idx="392">
                  <c:v>57322</c:v>
                </c:pt>
                <c:pt idx="393">
                  <c:v>57326</c:v>
                </c:pt>
                <c:pt idx="394">
                  <c:v>57330</c:v>
                </c:pt>
                <c:pt idx="395">
                  <c:v>57336</c:v>
                </c:pt>
                <c:pt idx="396">
                  <c:v>57338</c:v>
                </c:pt>
                <c:pt idx="397">
                  <c:v>57346</c:v>
                </c:pt>
                <c:pt idx="398">
                  <c:v>57347</c:v>
                </c:pt>
                <c:pt idx="399">
                  <c:v>57347</c:v>
                </c:pt>
                <c:pt idx="400">
                  <c:v>57352</c:v>
                </c:pt>
                <c:pt idx="401">
                  <c:v>57354</c:v>
                </c:pt>
                <c:pt idx="402">
                  <c:v>57357</c:v>
                </c:pt>
                <c:pt idx="403">
                  <c:v>57360</c:v>
                </c:pt>
                <c:pt idx="404">
                  <c:v>57364</c:v>
                </c:pt>
                <c:pt idx="405">
                  <c:v>57364</c:v>
                </c:pt>
                <c:pt idx="406">
                  <c:v>57364</c:v>
                </c:pt>
                <c:pt idx="407">
                  <c:v>57365</c:v>
                </c:pt>
                <c:pt idx="408">
                  <c:v>57367</c:v>
                </c:pt>
                <c:pt idx="409">
                  <c:v>57369</c:v>
                </c:pt>
                <c:pt idx="410">
                  <c:v>57371</c:v>
                </c:pt>
                <c:pt idx="411">
                  <c:v>57375</c:v>
                </c:pt>
                <c:pt idx="412">
                  <c:v>57375</c:v>
                </c:pt>
                <c:pt idx="413">
                  <c:v>57375</c:v>
                </c:pt>
                <c:pt idx="414">
                  <c:v>57375</c:v>
                </c:pt>
                <c:pt idx="415">
                  <c:v>57376</c:v>
                </c:pt>
                <c:pt idx="416">
                  <c:v>57377</c:v>
                </c:pt>
                <c:pt idx="417">
                  <c:v>57378</c:v>
                </c:pt>
                <c:pt idx="418">
                  <c:v>57378</c:v>
                </c:pt>
                <c:pt idx="419">
                  <c:v>57378</c:v>
                </c:pt>
                <c:pt idx="420">
                  <c:v>57378</c:v>
                </c:pt>
                <c:pt idx="421">
                  <c:v>57379</c:v>
                </c:pt>
                <c:pt idx="422">
                  <c:v>57379</c:v>
                </c:pt>
                <c:pt idx="423">
                  <c:v>57381</c:v>
                </c:pt>
                <c:pt idx="424">
                  <c:v>57382</c:v>
                </c:pt>
                <c:pt idx="425">
                  <c:v>57382</c:v>
                </c:pt>
                <c:pt idx="426">
                  <c:v>57382</c:v>
                </c:pt>
                <c:pt idx="427">
                  <c:v>57383</c:v>
                </c:pt>
                <c:pt idx="428">
                  <c:v>57385</c:v>
                </c:pt>
                <c:pt idx="429">
                  <c:v>57386</c:v>
                </c:pt>
                <c:pt idx="430">
                  <c:v>57386</c:v>
                </c:pt>
                <c:pt idx="431">
                  <c:v>57389</c:v>
                </c:pt>
                <c:pt idx="432">
                  <c:v>57390</c:v>
                </c:pt>
                <c:pt idx="433">
                  <c:v>57390</c:v>
                </c:pt>
                <c:pt idx="434">
                  <c:v>5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98</c:f>
              <c:numCache>
                <c:formatCode>m/d/yyyy</c:formatCode>
                <c:ptCount val="26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</c:numCache>
            </c:numRef>
          </c:cat>
          <c:val>
            <c:numRef>
              <c:f>Sheet1!$B$135:$B$398</c:f>
              <c:numCache>
                <c:formatCode>General</c:formatCode>
                <c:ptCount val="264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3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4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3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2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7</c:v>
                </c:pt>
                <c:pt idx="45">
                  <c:v>1</c:v>
                </c:pt>
                <c:pt idx="46">
                  <c:v>2</c:v>
                </c:pt>
                <c:pt idx="47">
                  <c:v>0</c:v>
                </c:pt>
                <c:pt idx="48">
                  <c:v>3</c:v>
                </c:pt>
                <c:pt idx="49">
                  <c:v>2</c:v>
                </c:pt>
                <c:pt idx="50">
                  <c:v>0</c:v>
                </c:pt>
                <c:pt idx="51">
                  <c:v>4</c:v>
                </c:pt>
                <c:pt idx="52">
                  <c:v>1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3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1</c:v>
                </c:pt>
                <c:pt idx="61">
                  <c:v>0</c:v>
                </c:pt>
                <c:pt idx="62">
                  <c:v>0</c:v>
                </c:pt>
                <c:pt idx="63">
                  <c:v>2</c:v>
                </c:pt>
                <c:pt idx="64">
                  <c:v>0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0</c:v>
                </c:pt>
                <c:pt idx="70">
                  <c:v>0</c:v>
                </c:pt>
                <c:pt idx="71">
                  <c:v>4</c:v>
                </c:pt>
                <c:pt idx="72">
                  <c:v>4</c:v>
                </c:pt>
                <c:pt idx="73">
                  <c:v>1</c:v>
                </c:pt>
                <c:pt idx="74">
                  <c:v>1</c:v>
                </c:pt>
                <c:pt idx="75">
                  <c:v>3</c:v>
                </c:pt>
                <c:pt idx="76">
                  <c:v>1</c:v>
                </c:pt>
                <c:pt idx="77">
                  <c:v>0</c:v>
                </c:pt>
                <c:pt idx="78">
                  <c:v>2</c:v>
                </c:pt>
                <c:pt idx="79">
                  <c:v>0</c:v>
                </c:pt>
                <c:pt idx="80">
                  <c:v>0</c:v>
                </c:pt>
                <c:pt idx="81">
                  <c:v>3</c:v>
                </c:pt>
                <c:pt idx="82">
                  <c:v>3</c:v>
                </c:pt>
                <c:pt idx="83">
                  <c:v>0</c:v>
                </c:pt>
                <c:pt idx="84">
                  <c:v>4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2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3</c:v>
                </c:pt>
                <c:pt idx="93">
                  <c:v>3</c:v>
                </c:pt>
                <c:pt idx="94">
                  <c:v>2</c:v>
                </c:pt>
                <c:pt idx="95">
                  <c:v>3</c:v>
                </c:pt>
                <c:pt idx="96">
                  <c:v>0</c:v>
                </c:pt>
                <c:pt idx="97">
                  <c:v>2</c:v>
                </c:pt>
                <c:pt idx="98">
                  <c:v>6</c:v>
                </c:pt>
                <c:pt idx="99">
                  <c:v>4</c:v>
                </c:pt>
                <c:pt idx="100">
                  <c:v>3</c:v>
                </c:pt>
                <c:pt idx="101">
                  <c:v>9</c:v>
                </c:pt>
                <c:pt idx="102">
                  <c:v>2</c:v>
                </c:pt>
                <c:pt idx="103">
                  <c:v>5</c:v>
                </c:pt>
                <c:pt idx="104">
                  <c:v>1</c:v>
                </c:pt>
                <c:pt idx="105">
                  <c:v>0</c:v>
                </c:pt>
                <c:pt idx="106">
                  <c:v>2</c:v>
                </c:pt>
                <c:pt idx="107">
                  <c:v>5</c:v>
                </c:pt>
                <c:pt idx="108">
                  <c:v>6</c:v>
                </c:pt>
                <c:pt idx="109">
                  <c:v>6</c:v>
                </c:pt>
                <c:pt idx="110">
                  <c:v>1</c:v>
                </c:pt>
                <c:pt idx="111">
                  <c:v>1</c:v>
                </c:pt>
                <c:pt idx="112">
                  <c:v>3</c:v>
                </c:pt>
                <c:pt idx="113">
                  <c:v>10</c:v>
                </c:pt>
                <c:pt idx="114">
                  <c:v>7</c:v>
                </c:pt>
                <c:pt idx="115">
                  <c:v>7</c:v>
                </c:pt>
                <c:pt idx="116">
                  <c:v>6</c:v>
                </c:pt>
                <c:pt idx="117">
                  <c:v>5</c:v>
                </c:pt>
                <c:pt idx="118">
                  <c:v>8</c:v>
                </c:pt>
                <c:pt idx="119">
                  <c:v>17</c:v>
                </c:pt>
                <c:pt idx="120">
                  <c:v>17</c:v>
                </c:pt>
                <c:pt idx="121">
                  <c:v>13</c:v>
                </c:pt>
                <c:pt idx="122">
                  <c:v>13</c:v>
                </c:pt>
                <c:pt idx="123">
                  <c:v>17</c:v>
                </c:pt>
                <c:pt idx="124">
                  <c:v>15</c:v>
                </c:pt>
                <c:pt idx="125">
                  <c:v>12</c:v>
                </c:pt>
                <c:pt idx="126">
                  <c:v>28</c:v>
                </c:pt>
                <c:pt idx="127">
                  <c:v>20</c:v>
                </c:pt>
                <c:pt idx="128">
                  <c:v>25</c:v>
                </c:pt>
                <c:pt idx="129">
                  <c:v>22</c:v>
                </c:pt>
                <c:pt idx="130">
                  <c:v>38</c:v>
                </c:pt>
                <c:pt idx="131">
                  <c:v>22</c:v>
                </c:pt>
                <c:pt idx="132">
                  <c:v>18</c:v>
                </c:pt>
                <c:pt idx="133">
                  <c:v>57</c:v>
                </c:pt>
                <c:pt idx="134">
                  <c:v>38</c:v>
                </c:pt>
                <c:pt idx="135">
                  <c:v>39</c:v>
                </c:pt>
                <c:pt idx="136">
                  <c:v>27</c:v>
                </c:pt>
                <c:pt idx="137">
                  <c:v>41</c:v>
                </c:pt>
                <c:pt idx="138">
                  <c:v>21</c:v>
                </c:pt>
                <c:pt idx="139">
                  <c:v>19</c:v>
                </c:pt>
                <c:pt idx="140">
                  <c:v>53</c:v>
                </c:pt>
                <c:pt idx="141">
                  <c:v>47</c:v>
                </c:pt>
                <c:pt idx="142">
                  <c:v>47</c:v>
                </c:pt>
                <c:pt idx="143">
                  <c:v>49</c:v>
                </c:pt>
                <c:pt idx="144">
                  <c:v>44</c:v>
                </c:pt>
                <c:pt idx="145">
                  <c:v>49</c:v>
                </c:pt>
                <c:pt idx="146">
                  <c:v>23</c:v>
                </c:pt>
                <c:pt idx="147">
                  <c:v>65</c:v>
                </c:pt>
                <c:pt idx="148">
                  <c:v>61</c:v>
                </c:pt>
                <c:pt idx="149">
                  <c:v>43</c:v>
                </c:pt>
                <c:pt idx="150">
                  <c:v>57</c:v>
                </c:pt>
                <c:pt idx="151">
                  <c:v>83</c:v>
                </c:pt>
                <c:pt idx="152">
                  <c:v>51</c:v>
                </c:pt>
                <c:pt idx="153">
                  <c:v>32</c:v>
                </c:pt>
                <c:pt idx="154">
                  <c:v>64</c:v>
                </c:pt>
                <c:pt idx="155">
                  <c:v>71</c:v>
                </c:pt>
                <c:pt idx="156">
                  <c:v>44</c:v>
                </c:pt>
                <c:pt idx="157">
                  <c:v>70</c:v>
                </c:pt>
                <c:pt idx="158">
                  <c:v>54</c:v>
                </c:pt>
                <c:pt idx="159">
                  <c:v>35</c:v>
                </c:pt>
                <c:pt idx="160">
                  <c:v>40</c:v>
                </c:pt>
                <c:pt idx="161">
                  <c:v>64</c:v>
                </c:pt>
                <c:pt idx="162">
                  <c:v>51</c:v>
                </c:pt>
                <c:pt idx="163">
                  <c:v>58</c:v>
                </c:pt>
                <c:pt idx="164">
                  <c:v>45</c:v>
                </c:pt>
                <c:pt idx="165">
                  <c:v>52</c:v>
                </c:pt>
                <c:pt idx="166">
                  <c:v>27</c:v>
                </c:pt>
                <c:pt idx="167">
                  <c:v>17</c:v>
                </c:pt>
                <c:pt idx="168">
                  <c:v>47</c:v>
                </c:pt>
                <c:pt idx="169">
                  <c:v>45</c:v>
                </c:pt>
                <c:pt idx="170">
                  <c:v>31</c:v>
                </c:pt>
                <c:pt idx="171">
                  <c:v>33</c:v>
                </c:pt>
                <c:pt idx="172">
                  <c:v>34</c:v>
                </c:pt>
                <c:pt idx="173">
                  <c:v>21</c:v>
                </c:pt>
                <c:pt idx="174">
                  <c:v>13</c:v>
                </c:pt>
                <c:pt idx="175">
                  <c:v>29</c:v>
                </c:pt>
                <c:pt idx="176">
                  <c:v>25</c:v>
                </c:pt>
                <c:pt idx="177">
                  <c:v>26</c:v>
                </c:pt>
                <c:pt idx="178">
                  <c:v>16</c:v>
                </c:pt>
                <c:pt idx="179">
                  <c:v>25</c:v>
                </c:pt>
                <c:pt idx="180">
                  <c:v>20</c:v>
                </c:pt>
                <c:pt idx="181">
                  <c:v>15</c:v>
                </c:pt>
                <c:pt idx="182">
                  <c:v>27</c:v>
                </c:pt>
                <c:pt idx="183">
                  <c:v>31</c:v>
                </c:pt>
                <c:pt idx="184">
                  <c:v>22</c:v>
                </c:pt>
                <c:pt idx="185">
                  <c:v>25</c:v>
                </c:pt>
                <c:pt idx="186">
                  <c:v>4</c:v>
                </c:pt>
                <c:pt idx="187">
                  <c:v>12</c:v>
                </c:pt>
                <c:pt idx="188">
                  <c:v>8</c:v>
                </c:pt>
                <c:pt idx="189">
                  <c:v>27</c:v>
                </c:pt>
                <c:pt idx="190">
                  <c:v>34</c:v>
                </c:pt>
                <c:pt idx="191">
                  <c:v>27</c:v>
                </c:pt>
                <c:pt idx="192">
                  <c:v>23</c:v>
                </c:pt>
                <c:pt idx="193">
                  <c:v>22</c:v>
                </c:pt>
                <c:pt idx="194">
                  <c:v>6</c:v>
                </c:pt>
                <c:pt idx="195">
                  <c:v>27</c:v>
                </c:pt>
                <c:pt idx="196">
                  <c:v>41</c:v>
                </c:pt>
                <c:pt idx="197">
                  <c:v>31</c:v>
                </c:pt>
                <c:pt idx="198">
                  <c:v>21</c:v>
                </c:pt>
                <c:pt idx="199">
                  <c:v>26</c:v>
                </c:pt>
                <c:pt idx="200">
                  <c:v>20</c:v>
                </c:pt>
                <c:pt idx="201">
                  <c:v>18</c:v>
                </c:pt>
                <c:pt idx="202">
                  <c:v>16</c:v>
                </c:pt>
                <c:pt idx="203">
                  <c:v>38</c:v>
                </c:pt>
                <c:pt idx="204">
                  <c:v>52</c:v>
                </c:pt>
                <c:pt idx="205">
                  <c:v>80</c:v>
                </c:pt>
                <c:pt idx="206">
                  <c:v>46</c:v>
                </c:pt>
                <c:pt idx="207">
                  <c:v>58</c:v>
                </c:pt>
                <c:pt idx="208">
                  <c:v>41</c:v>
                </c:pt>
                <c:pt idx="209">
                  <c:v>53</c:v>
                </c:pt>
                <c:pt idx="210">
                  <c:v>133</c:v>
                </c:pt>
                <c:pt idx="211">
                  <c:v>112</c:v>
                </c:pt>
                <c:pt idx="212">
                  <c:v>149</c:v>
                </c:pt>
                <c:pt idx="213">
                  <c:v>128</c:v>
                </c:pt>
                <c:pt idx="214">
                  <c:v>107</c:v>
                </c:pt>
                <c:pt idx="215">
                  <c:v>68</c:v>
                </c:pt>
                <c:pt idx="216">
                  <c:v>94</c:v>
                </c:pt>
                <c:pt idx="217">
                  <c:v>203</c:v>
                </c:pt>
                <c:pt idx="218">
                  <c:v>175</c:v>
                </c:pt>
                <c:pt idx="219">
                  <c:v>184</c:v>
                </c:pt>
                <c:pt idx="220">
                  <c:v>211</c:v>
                </c:pt>
                <c:pt idx="221">
                  <c:v>195</c:v>
                </c:pt>
                <c:pt idx="222">
                  <c:v>75</c:v>
                </c:pt>
                <c:pt idx="223">
                  <c:v>120</c:v>
                </c:pt>
                <c:pt idx="224">
                  <c:v>216</c:v>
                </c:pt>
                <c:pt idx="225">
                  <c:v>240</c:v>
                </c:pt>
                <c:pt idx="226">
                  <c:v>180</c:v>
                </c:pt>
                <c:pt idx="227">
                  <c:v>146</c:v>
                </c:pt>
                <c:pt idx="228">
                  <c:v>150</c:v>
                </c:pt>
                <c:pt idx="229">
                  <c:v>90</c:v>
                </c:pt>
                <c:pt idx="230">
                  <c:v>65</c:v>
                </c:pt>
                <c:pt idx="231">
                  <c:v>167</c:v>
                </c:pt>
                <c:pt idx="232">
                  <c:v>139</c:v>
                </c:pt>
                <c:pt idx="233">
                  <c:v>123</c:v>
                </c:pt>
                <c:pt idx="234">
                  <c:v>114</c:v>
                </c:pt>
                <c:pt idx="235">
                  <c:v>108</c:v>
                </c:pt>
                <c:pt idx="236">
                  <c:v>55</c:v>
                </c:pt>
                <c:pt idx="237">
                  <c:v>53</c:v>
                </c:pt>
                <c:pt idx="238">
                  <c:v>163</c:v>
                </c:pt>
                <c:pt idx="239">
                  <c:v>102</c:v>
                </c:pt>
                <c:pt idx="240">
                  <c:v>94</c:v>
                </c:pt>
                <c:pt idx="241">
                  <c:v>75</c:v>
                </c:pt>
                <c:pt idx="242">
                  <c:v>74</c:v>
                </c:pt>
                <c:pt idx="243">
                  <c:v>45</c:v>
                </c:pt>
                <c:pt idx="244">
                  <c:v>46</c:v>
                </c:pt>
                <c:pt idx="245">
                  <c:v>85</c:v>
                </c:pt>
                <c:pt idx="246">
                  <c:v>68</c:v>
                </c:pt>
                <c:pt idx="247">
                  <c:v>62</c:v>
                </c:pt>
                <c:pt idx="248">
                  <c:v>57</c:v>
                </c:pt>
                <c:pt idx="249">
                  <c:v>48</c:v>
                </c:pt>
                <c:pt idx="250">
                  <c:v>33</c:v>
                </c:pt>
                <c:pt idx="251">
                  <c:v>36</c:v>
                </c:pt>
                <c:pt idx="252">
                  <c:v>86</c:v>
                </c:pt>
                <c:pt idx="253">
                  <c:v>54</c:v>
                </c:pt>
                <c:pt idx="254">
                  <c:v>64</c:v>
                </c:pt>
                <c:pt idx="255">
                  <c:v>48</c:v>
                </c:pt>
                <c:pt idx="256">
                  <c:v>53</c:v>
                </c:pt>
                <c:pt idx="257">
                  <c:v>40</c:v>
                </c:pt>
                <c:pt idx="258">
                  <c:v>31</c:v>
                </c:pt>
                <c:pt idx="259">
                  <c:v>89</c:v>
                </c:pt>
                <c:pt idx="260">
                  <c:v>72</c:v>
                </c:pt>
                <c:pt idx="261">
                  <c:v>62</c:v>
                </c:pt>
                <c:pt idx="262">
                  <c:v>54</c:v>
                </c:pt>
                <c:pt idx="263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56471970000000005</c:v>
                </c:pt>
                <c:pt idx="10">
                  <c:v>2.6353586</c:v>
                </c:pt>
                <c:pt idx="11">
                  <c:v>9.6002349000000002</c:v>
                </c:pt>
                <c:pt idx="12">
                  <c:v>13.8356326</c:v>
                </c:pt>
                <c:pt idx="13">
                  <c:v>8.4726853999999996</c:v>
                </c:pt>
                <c:pt idx="14">
                  <c:v>4.5204380000000004</c:v>
                </c:pt>
                <c:pt idx="15">
                  <c:v>6.5005354999999998</c:v>
                </c:pt>
                <c:pt idx="16">
                  <c:v>3.3928303</c:v>
                </c:pt>
                <c:pt idx="17">
                  <c:v>1.9798395</c:v>
                </c:pt>
                <c:pt idx="18">
                  <c:v>2.2630385999999998</c:v>
                </c:pt>
                <c:pt idx="19">
                  <c:v>0.84876669999999999</c:v>
                </c:pt>
                <c:pt idx="20">
                  <c:v>0.56592770000000003</c:v>
                </c:pt>
                <c:pt idx="21">
                  <c:v>1.4150155</c:v>
                </c:pt>
                <c:pt idx="22">
                  <c:v>1.1321437999999999</c:v>
                </c:pt>
                <c:pt idx="23">
                  <c:v>0.84919679999999997</c:v>
                </c:pt>
                <c:pt idx="24">
                  <c:v>1.4154762000000001</c:v>
                </c:pt>
                <c:pt idx="25">
                  <c:v>1.1324964</c:v>
                </c:pt>
                <c:pt idx="26">
                  <c:v>1.1325509</c:v>
                </c:pt>
                <c:pt idx="27">
                  <c:v>1.1325284</c:v>
                </c:pt>
                <c:pt idx="28">
                  <c:v>1.6987638</c:v>
                </c:pt>
                <c:pt idx="29">
                  <c:v>2.5481025000000002</c:v>
                </c:pt>
                <c:pt idx="30">
                  <c:v>4.2463205000000004</c:v>
                </c:pt>
                <c:pt idx="31">
                  <c:v>3.3953935</c:v>
                </c:pt>
                <c:pt idx="32">
                  <c:v>7.0700156999999999</c:v>
                </c:pt>
                <c:pt idx="33">
                  <c:v>6.7836660000000002</c:v>
                </c:pt>
                <c:pt idx="34">
                  <c:v>8.1922986000000009</c:v>
                </c:pt>
                <c:pt idx="35">
                  <c:v>16.353598600000002</c:v>
                </c:pt>
                <c:pt idx="36">
                  <c:v>30.657246300000001</c:v>
                </c:pt>
                <c:pt idx="37">
                  <c:v>49.378143899999998</c:v>
                </c:pt>
                <c:pt idx="38">
                  <c:v>52.054909500000001</c:v>
                </c:pt>
                <c:pt idx="39">
                  <c:v>98.306173400000006</c:v>
                </c:pt>
                <c:pt idx="40">
                  <c:v>188.8950892</c:v>
                </c:pt>
                <c:pt idx="41">
                  <c:v>272.91709059999999</c:v>
                </c:pt>
                <c:pt idx="42">
                  <c:v>318.63455060000001</c:v>
                </c:pt>
                <c:pt idx="43">
                  <c:v>202.6021011</c:v>
                </c:pt>
                <c:pt idx="44">
                  <c:v>147.43969569999999</c:v>
                </c:pt>
                <c:pt idx="45">
                  <c:v>92.048766299999997</c:v>
                </c:pt>
                <c:pt idx="46">
                  <c:v>92.295545899999993</c:v>
                </c:pt>
                <c:pt idx="47">
                  <c:v>90.596323900000002</c:v>
                </c:pt>
                <c:pt idx="48">
                  <c:v>111.6837294</c:v>
                </c:pt>
                <c:pt idx="49">
                  <c:v>136.1012815</c:v>
                </c:pt>
                <c:pt idx="50">
                  <c:v>178.5585355</c:v>
                </c:pt>
                <c:pt idx="51">
                  <c:v>197.39746289999999</c:v>
                </c:pt>
                <c:pt idx="52">
                  <c:v>221.5183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79.9320256</c:v>
                </c:pt>
                <c:pt idx="1">
                  <c:v>126.6877812</c:v>
                </c:pt>
                <c:pt idx="2">
                  <c:v>104.5170257</c:v>
                </c:pt>
                <c:pt idx="3">
                  <c:v>76.205309299999996</c:v>
                </c:pt>
                <c:pt idx="4">
                  <c:v>58.991468400000002</c:v>
                </c:pt>
                <c:pt idx="5">
                  <c:v>44.8185821</c:v>
                </c:pt>
                <c:pt idx="6">
                  <c:v>40.102260700000002</c:v>
                </c:pt>
                <c:pt idx="7">
                  <c:v>48.197604599999998</c:v>
                </c:pt>
                <c:pt idx="8">
                  <c:v>56.857613399999998</c:v>
                </c:pt>
                <c:pt idx="9">
                  <c:v>31.222210100000002</c:v>
                </c:pt>
                <c:pt idx="10">
                  <c:v>32.200357699999998</c:v>
                </c:pt>
                <c:pt idx="11">
                  <c:v>20.353367899999999</c:v>
                </c:pt>
                <c:pt idx="12">
                  <c:v>17.287819800000001</c:v>
                </c:pt>
                <c:pt idx="13">
                  <c:v>10.3158604</c:v>
                </c:pt>
                <c:pt idx="14">
                  <c:v>8.0833983000000007</c:v>
                </c:pt>
                <c:pt idx="15">
                  <c:v>9.4747635999999993</c:v>
                </c:pt>
                <c:pt idx="16">
                  <c:v>6.4078274999999998</c:v>
                </c:pt>
                <c:pt idx="17">
                  <c:v>6.9640598000000002</c:v>
                </c:pt>
                <c:pt idx="18">
                  <c:v>1.6716816999999999</c:v>
                </c:pt>
                <c:pt idx="19">
                  <c:v>4.1800661000000003</c:v>
                </c:pt>
                <c:pt idx="20">
                  <c:v>2.5085499000000002</c:v>
                </c:pt>
                <c:pt idx="21">
                  <c:v>2.5090604000000001</c:v>
                </c:pt>
                <c:pt idx="22">
                  <c:v>0.55769639999999998</c:v>
                </c:pt>
                <c:pt idx="23">
                  <c:v>0.27891510000000003</c:v>
                </c:pt>
                <c:pt idx="24">
                  <c:v>0.27898200000000001</c:v>
                </c:pt>
                <c:pt idx="25">
                  <c:v>0</c:v>
                </c:pt>
                <c:pt idx="26">
                  <c:v>0.55804659999999995</c:v>
                </c:pt>
                <c:pt idx="27">
                  <c:v>1.39456</c:v>
                </c:pt>
                <c:pt idx="28">
                  <c:v>3.3456098000000001</c:v>
                </c:pt>
                <c:pt idx="29">
                  <c:v>2.7869126</c:v>
                </c:pt>
                <c:pt idx="30">
                  <c:v>2.7857248000000001</c:v>
                </c:pt>
                <c:pt idx="31">
                  <c:v>2.7842589000000002</c:v>
                </c:pt>
                <c:pt idx="32">
                  <c:v>1.3913933000000001</c:v>
                </c:pt>
                <c:pt idx="33">
                  <c:v>1.3906542</c:v>
                </c:pt>
                <c:pt idx="34">
                  <c:v>3.0576873999999998</c:v>
                </c:pt>
                <c:pt idx="35">
                  <c:v>2.2199836999999998</c:v>
                </c:pt>
                <c:pt idx="36">
                  <c:v>3.3225718</c:v>
                </c:pt>
                <c:pt idx="37">
                  <c:v>3.0389341999999999</c:v>
                </c:pt>
                <c:pt idx="38">
                  <c:v>5.5131046000000001</c:v>
                </c:pt>
                <c:pt idx="39">
                  <c:v>6.6050924999999996</c:v>
                </c:pt>
                <c:pt idx="40">
                  <c:v>9.3551032000000003</c:v>
                </c:pt>
                <c:pt idx="41">
                  <c:v>19.8072643</c:v>
                </c:pt>
                <c:pt idx="42">
                  <c:v>34.931567100000002</c:v>
                </c:pt>
                <c:pt idx="43">
                  <c:v>62.428495900000001</c:v>
                </c:pt>
                <c:pt idx="44">
                  <c:v>69.040067899999997</c:v>
                </c:pt>
                <c:pt idx="45">
                  <c:v>88.587118000000004</c:v>
                </c:pt>
                <c:pt idx="46">
                  <c:v>104.2899204</c:v>
                </c:pt>
                <c:pt idx="47">
                  <c:v>95.779640700000002</c:v>
                </c:pt>
                <c:pt idx="48">
                  <c:v>67.179136999999997</c:v>
                </c:pt>
                <c:pt idx="49">
                  <c:v>46.822539800000001</c:v>
                </c:pt>
                <c:pt idx="50">
                  <c:v>40.502673999999999</c:v>
                </c:pt>
                <c:pt idx="51">
                  <c:v>34.729495800000002</c:v>
                </c:pt>
                <c:pt idx="52">
                  <c:v>37.6324371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1.938554400000001</c:v>
                </c:pt>
                <c:pt idx="1">
                  <c:v>72.108211999999995</c:v>
                </c:pt>
                <c:pt idx="2">
                  <c:v>159.62288050000001</c:v>
                </c:pt>
                <c:pt idx="3">
                  <c:v>247.64680129999999</c:v>
                </c:pt>
                <c:pt idx="4">
                  <c:v>247.93457179999999</c:v>
                </c:pt>
                <c:pt idx="5">
                  <c:v>174.5418622</c:v>
                </c:pt>
                <c:pt idx="6">
                  <c:v>134.9310352</c:v>
                </c:pt>
                <c:pt idx="7">
                  <c:v>87.778509200000002</c:v>
                </c:pt>
                <c:pt idx="8">
                  <c:v>83.934586600000003</c:v>
                </c:pt>
                <c:pt idx="9">
                  <c:v>88.1260563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036-4AB9-BD38-2EA78570BB2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036-4AB9-BD38-2EA78570BB2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036-4AB9-BD38-2EA78570BB2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036-4AB9-BD38-2EA78570BB2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036-4AB9-BD38-2EA78570BB2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036-4AB9-BD38-2EA78570BB2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036-4AB9-BD38-2EA78570BB2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98</c:f>
              <c:numCache>
                <c:formatCode>m/d/yyyy</c:formatCode>
                <c:ptCount val="26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</c:numCache>
            </c:numRef>
          </c:cat>
          <c:val>
            <c:numRef>
              <c:f>Sheet1!$B$135:$B$398</c:f>
              <c:numCache>
                <c:formatCode>General</c:formatCode>
                <c:ptCount val="264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5</c:v>
                </c:pt>
                <c:pt idx="29">
                  <c:v>1</c:v>
                </c:pt>
                <c:pt idx="30">
                  <c:v>4</c:v>
                </c:pt>
                <c:pt idx="31">
                  <c:v>0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  <c:pt idx="35">
                  <c:v>3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2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2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1</c:v>
                </c:pt>
                <c:pt idx="56">
                  <c:v>3</c:v>
                </c:pt>
                <c:pt idx="57">
                  <c:v>3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5</c:v>
                </c:pt>
                <c:pt idx="64">
                  <c:v>2</c:v>
                </c:pt>
                <c:pt idx="65">
                  <c:v>0</c:v>
                </c:pt>
                <c:pt idx="66">
                  <c:v>2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0</c:v>
                </c:pt>
                <c:pt idx="71">
                  <c:v>2</c:v>
                </c:pt>
                <c:pt idx="72">
                  <c:v>1</c:v>
                </c:pt>
                <c:pt idx="73">
                  <c:v>6</c:v>
                </c:pt>
                <c:pt idx="74">
                  <c:v>6</c:v>
                </c:pt>
                <c:pt idx="75">
                  <c:v>1</c:v>
                </c:pt>
                <c:pt idx="76">
                  <c:v>1</c:v>
                </c:pt>
                <c:pt idx="77">
                  <c:v>2</c:v>
                </c:pt>
                <c:pt idx="78">
                  <c:v>6</c:v>
                </c:pt>
                <c:pt idx="79">
                  <c:v>1</c:v>
                </c:pt>
                <c:pt idx="80">
                  <c:v>4</c:v>
                </c:pt>
                <c:pt idx="81">
                  <c:v>0</c:v>
                </c:pt>
                <c:pt idx="82">
                  <c:v>1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8</c:v>
                </c:pt>
                <c:pt idx="88">
                  <c:v>5</c:v>
                </c:pt>
                <c:pt idx="89">
                  <c:v>2</c:v>
                </c:pt>
                <c:pt idx="90">
                  <c:v>2</c:v>
                </c:pt>
                <c:pt idx="91">
                  <c:v>9</c:v>
                </c:pt>
                <c:pt idx="92">
                  <c:v>7</c:v>
                </c:pt>
                <c:pt idx="93">
                  <c:v>5</c:v>
                </c:pt>
                <c:pt idx="94">
                  <c:v>5</c:v>
                </c:pt>
                <c:pt idx="95">
                  <c:v>7</c:v>
                </c:pt>
                <c:pt idx="96">
                  <c:v>6</c:v>
                </c:pt>
                <c:pt idx="97">
                  <c:v>6</c:v>
                </c:pt>
                <c:pt idx="98">
                  <c:v>5</c:v>
                </c:pt>
                <c:pt idx="99">
                  <c:v>9</c:v>
                </c:pt>
                <c:pt idx="100">
                  <c:v>12</c:v>
                </c:pt>
                <c:pt idx="101">
                  <c:v>16</c:v>
                </c:pt>
                <c:pt idx="102">
                  <c:v>8</c:v>
                </c:pt>
                <c:pt idx="103">
                  <c:v>5</c:v>
                </c:pt>
                <c:pt idx="104">
                  <c:v>8</c:v>
                </c:pt>
                <c:pt idx="105">
                  <c:v>10</c:v>
                </c:pt>
                <c:pt idx="106">
                  <c:v>14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5</c:v>
                </c:pt>
                <c:pt idx="111">
                  <c:v>4</c:v>
                </c:pt>
                <c:pt idx="112">
                  <c:v>18</c:v>
                </c:pt>
                <c:pt idx="113">
                  <c:v>19</c:v>
                </c:pt>
                <c:pt idx="114">
                  <c:v>22</c:v>
                </c:pt>
                <c:pt idx="115">
                  <c:v>21</c:v>
                </c:pt>
                <c:pt idx="116">
                  <c:v>17</c:v>
                </c:pt>
                <c:pt idx="117">
                  <c:v>10</c:v>
                </c:pt>
                <c:pt idx="118">
                  <c:v>10</c:v>
                </c:pt>
                <c:pt idx="119">
                  <c:v>35</c:v>
                </c:pt>
                <c:pt idx="120">
                  <c:v>28</c:v>
                </c:pt>
                <c:pt idx="121">
                  <c:v>27</c:v>
                </c:pt>
                <c:pt idx="122">
                  <c:v>53</c:v>
                </c:pt>
                <c:pt idx="123">
                  <c:v>43</c:v>
                </c:pt>
                <c:pt idx="124">
                  <c:v>34</c:v>
                </c:pt>
                <c:pt idx="125">
                  <c:v>12</c:v>
                </c:pt>
                <c:pt idx="126">
                  <c:v>65</c:v>
                </c:pt>
                <c:pt idx="127">
                  <c:v>68</c:v>
                </c:pt>
                <c:pt idx="128">
                  <c:v>75</c:v>
                </c:pt>
                <c:pt idx="129">
                  <c:v>33</c:v>
                </c:pt>
                <c:pt idx="130">
                  <c:v>82</c:v>
                </c:pt>
                <c:pt idx="131">
                  <c:v>62</c:v>
                </c:pt>
                <c:pt idx="132">
                  <c:v>37</c:v>
                </c:pt>
                <c:pt idx="133">
                  <c:v>111</c:v>
                </c:pt>
                <c:pt idx="134">
                  <c:v>103</c:v>
                </c:pt>
                <c:pt idx="135">
                  <c:v>116</c:v>
                </c:pt>
                <c:pt idx="136">
                  <c:v>103</c:v>
                </c:pt>
                <c:pt idx="137">
                  <c:v>109</c:v>
                </c:pt>
                <c:pt idx="138">
                  <c:v>84</c:v>
                </c:pt>
                <c:pt idx="139">
                  <c:v>27</c:v>
                </c:pt>
                <c:pt idx="140">
                  <c:v>134</c:v>
                </c:pt>
                <c:pt idx="141">
                  <c:v>146</c:v>
                </c:pt>
                <c:pt idx="142">
                  <c:v>168</c:v>
                </c:pt>
                <c:pt idx="143">
                  <c:v>97</c:v>
                </c:pt>
                <c:pt idx="144">
                  <c:v>161</c:v>
                </c:pt>
                <c:pt idx="145">
                  <c:v>98</c:v>
                </c:pt>
                <c:pt idx="146">
                  <c:v>54</c:v>
                </c:pt>
                <c:pt idx="147">
                  <c:v>157</c:v>
                </c:pt>
                <c:pt idx="148">
                  <c:v>227</c:v>
                </c:pt>
                <c:pt idx="149">
                  <c:v>122</c:v>
                </c:pt>
                <c:pt idx="150">
                  <c:v>168</c:v>
                </c:pt>
                <c:pt idx="151">
                  <c:v>234</c:v>
                </c:pt>
                <c:pt idx="152">
                  <c:v>155</c:v>
                </c:pt>
                <c:pt idx="153">
                  <c:v>84</c:v>
                </c:pt>
                <c:pt idx="154">
                  <c:v>189</c:v>
                </c:pt>
                <c:pt idx="155">
                  <c:v>256</c:v>
                </c:pt>
                <c:pt idx="156">
                  <c:v>138</c:v>
                </c:pt>
                <c:pt idx="157">
                  <c:v>217</c:v>
                </c:pt>
                <c:pt idx="158">
                  <c:v>184</c:v>
                </c:pt>
                <c:pt idx="159">
                  <c:v>107</c:v>
                </c:pt>
                <c:pt idx="160">
                  <c:v>78</c:v>
                </c:pt>
                <c:pt idx="161">
                  <c:v>206</c:v>
                </c:pt>
                <c:pt idx="162">
                  <c:v>166</c:v>
                </c:pt>
                <c:pt idx="163">
                  <c:v>177</c:v>
                </c:pt>
                <c:pt idx="164">
                  <c:v>150</c:v>
                </c:pt>
                <c:pt idx="165">
                  <c:v>145</c:v>
                </c:pt>
                <c:pt idx="166">
                  <c:v>84</c:v>
                </c:pt>
                <c:pt idx="167">
                  <c:v>67</c:v>
                </c:pt>
                <c:pt idx="168">
                  <c:v>169</c:v>
                </c:pt>
                <c:pt idx="169">
                  <c:v>153</c:v>
                </c:pt>
                <c:pt idx="170">
                  <c:v>119</c:v>
                </c:pt>
                <c:pt idx="171">
                  <c:v>125</c:v>
                </c:pt>
                <c:pt idx="172">
                  <c:v>112</c:v>
                </c:pt>
                <c:pt idx="173">
                  <c:v>73</c:v>
                </c:pt>
                <c:pt idx="174">
                  <c:v>58</c:v>
                </c:pt>
                <c:pt idx="175">
                  <c:v>103</c:v>
                </c:pt>
                <c:pt idx="176">
                  <c:v>126</c:v>
                </c:pt>
                <c:pt idx="177">
                  <c:v>87</c:v>
                </c:pt>
                <c:pt idx="178">
                  <c:v>67</c:v>
                </c:pt>
                <c:pt idx="179">
                  <c:v>81</c:v>
                </c:pt>
                <c:pt idx="180">
                  <c:v>47</c:v>
                </c:pt>
                <c:pt idx="181">
                  <c:v>34</c:v>
                </c:pt>
                <c:pt idx="182">
                  <c:v>90</c:v>
                </c:pt>
                <c:pt idx="183">
                  <c:v>83</c:v>
                </c:pt>
                <c:pt idx="184">
                  <c:v>52</c:v>
                </c:pt>
                <c:pt idx="185">
                  <c:v>59</c:v>
                </c:pt>
                <c:pt idx="186">
                  <c:v>22</c:v>
                </c:pt>
                <c:pt idx="187">
                  <c:v>18</c:v>
                </c:pt>
                <c:pt idx="188">
                  <c:v>19</c:v>
                </c:pt>
                <c:pt idx="189">
                  <c:v>75</c:v>
                </c:pt>
                <c:pt idx="190">
                  <c:v>93</c:v>
                </c:pt>
                <c:pt idx="191">
                  <c:v>56</c:v>
                </c:pt>
                <c:pt idx="192">
                  <c:v>52</c:v>
                </c:pt>
                <c:pt idx="193">
                  <c:v>53</c:v>
                </c:pt>
                <c:pt idx="194">
                  <c:v>12</c:v>
                </c:pt>
                <c:pt idx="195">
                  <c:v>35</c:v>
                </c:pt>
                <c:pt idx="196">
                  <c:v>100</c:v>
                </c:pt>
                <c:pt idx="197">
                  <c:v>81</c:v>
                </c:pt>
                <c:pt idx="198">
                  <c:v>56</c:v>
                </c:pt>
                <c:pt idx="199">
                  <c:v>59</c:v>
                </c:pt>
                <c:pt idx="200">
                  <c:v>66</c:v>
                </c:pt>
                <c:pt idx="201">
                  <c:v>37</c:v>
                </c:pt>
                <c:pt idx="202">
                  <c:v>31</c:v>
                </c:pt>
                <c:pt idx="203">
                  <c:v>72</c:v>
                </c:pt>
                <c:pt idx="204">
                  <c:v>107</c:v>
                </c:pt>
                <c:pt idx="205">
                  <c:v>115</c:v>
                </c:pt>
                <c:pt idx="206">
                  <c:v>98</c:v>
                </c:pt>
                <c:pt idx="207">
                  <c:v>113</c:v>
                </c:pt>
                <c:pt idx="208">
                  <c:v>92</c:v>
                </c:pt>
                <c:pt idx="209">
                  <c:v>66</c:v>
                </c:pt>
                <c:pt idx="210">
                  <c:v>239</c:v>
                </c:pt>
                <c:pt idx="211">
                  <c:v>266</c:v>
                </c:pt>
                <c:pt idx="212">
                  <c:v>287</c:v>
                </c:pt>
                <c:pt idx="213">
                  <c:v>288</c:v>
                </c:pt>
                <c:pt idx="214">
                  <c:v>310</c:v>
                </c:pt>
                <c:pt idx="215">
                  <c:v>172</c:v>
                </c:pt>
                <c:pt idx="216">
                  <c:v>183</c:v>
                </c:pt>
                <c:pt idx="217">
                  <c:v>417</c:v>
                </c:pt>
                <c:pt idx="218">
                  <c:v>381</c:v>
                </c:pt>
                <c:pt idx="219">
                  <c:v>441</c:v>
                </c:pt>
                <c:pt idx="220">
                  <c:v>806</c:v>
                </c:pt>
                <c:pt idx="221">
                  <c:v>605</c:v>
                </c:pt>
                <c:pt idx="222">
                  <c:v>215</c:v>
                </c:pt>
                <c:pt idx="223">
                  <c:v>327</c:v>
                </c:pt>
                <c:pt idx="224">
                  <c:v>634</c:v>
                </c:pt>
                <c:pt idx="225">
                  <c:v>709</c:v>
                </c:pt>
                <c:pt idx="226">
                  <c:v>567</c:v>
                </c:pt>
                <c:pt idx="227">
                  <c:v>546</c:v>
                </c:pt>
                <c:pt idx="228">
                  <c:v>407</c:v>
                </c:pt>
                <c:pt idx="229">
                  <c:v>341</c:v>
                </c:pt>
                <c:pt idx="230">
                  <c:v>175</c:v>
                </c:pt>
                <c:pt idx="231">
                  <c:v>620</c:v>
                </c:pt>
                <c:pt idx="232">
                  <c:v>543</c:v>
                </c:pt>
                <c:pt idx="233">
                  <c:v>426</c:v>
                </c:pt>
                <c:pt idx="234">
                  <c:v>371</c:v>
                </c:pt>
                <c:pt idx="235">
                  <c:v>353</c:v>
                </c:pt>
                <c:pt idx="236">
                  <c:v>197</c:v>
                </c:pt>
                <c:pt idx="237">
                  <c:v>146</c:v>
                </c:pt>
                <c:pt idx="238">
                  <c:v>416</c:v>
                </c:pt>
                <c:pt idx="239">
                  <c:v>414</c:v>
                </c:pt>
                <c:pt idx="240">
                  <c:v>311</c:v>
                </c:pt>
                <c:pt idx="241">
                  <c:v>273</c:v>
                </c:pt>
                <c:pt idx="242">
                  <c:v>240</c:v>
                </c:pt>
                <c:pt idx="243">
                  <c:v>130</c:v>
                </c:pt>
                <c:pt idx="244">
                  <c:v>90</c:v>
                </c:pt>
                <c:pt idx="245">
                  <c:v>302</c:v>
                </c:pt>
                <c:pt idx="246">
                  <c:v>239</c:v>
                </c:pt>
                <c:pt idx="247">
                  <c:v>176</c:v>
                </c:pt>
                <c:pt idx="248">
                  <c:v>167</c:v>
                </c:pt>
                <c:pt idx="249">
                  <c:v>160</c:v>
                </c:pt>
                <c:pt idx="250">
                  <c:v>99</c:v>
                </c:pt>
                <c:pt idx="251">
                  <c:v>74</c:v>
                </c:pt>
                <c:pt idx="252">
                  <c:v>226</c:v>
                </c:pt>
                <c:pt idx="253">
                  <c:v>215</c:v>
                </c:pt>
                <c:pt idx="254">
                  <c:v>158</c:v>
                </c:pt>
                <c:pt idx="255">
                  <c:v>152</c:v>
                </c:pt>
                <c:pt idx="256">
                  <c:v>161</c:v>
                </c:pt>
                <c:pt idx="257">
                  <c:v>98</c:v>
                </c:pt>
                <c:pt idx="258">
                  <c:v>60</c:v>
                </c:pt>
                <c:pt idx="259">
                  <c:v>230</c:v>
                </c:pt>
                <c:pt idx="260">
                  <c:v>170</c:v>
                </c:pt>
                <c:pt idx="261">
                  <c:v>167</c:v>
                </c:pt>
                <c:pt idx="262">
                  <c:v>157</c:v>
                </c:pt>
                <c:pt idx="263">
                  <c:v>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036-4AB9-BD38-2EA78570B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</c:v>
                </c:pt>
                <c:pt idx="10">
                  <c:v>1.4798445</c:v>
                </c:pt>
                <c:pt idx="11">
                  <c:v>3.8053143999999999</c:v>
                </c:pt>
                <c:pt idx="12">
                  <c:v>10.429380399999999</c:v>
                </c:pt>
                <c:pt idx="13">
                  <c:v>14.9411094</c:v>
                </c:pt>
                <c:pt idx="14">
                  <c:v>7.4720081</c:v>
                </c:pt>
                <c:pt idx="15">
                  <c:v>7.8964771000000002</c:v>
                </c:pt>
                <c:pt idx="16">
                  <c:v>4.6541803000000002</c:v>
                </c:pt>
                <c:pt idx="17">
                  <c:v>5.0781112000000004</c:v>
                </c:pt>
                <c:pt idx="18">
                  <c:v>2.9623276000000001</c:v>
                </c:pt>
                <c:pt idx="19">
                  <c:v>0.84639960000000003</c:v>
                </c:pt>
                <c:pt idx="20">
                  <c:v>0.70534889999999995</c:v>
                </c:pt>
                <c:pt idx="21">
                  <c:v>1.5518027000000001</c:v>
                </c:pt>
                <c:pt idx="22">
                  <c:v>1.6929425</c:v>
                </c:pt>
                <c:pt idx="23">
                  <c:v>2.1162766999999998</c:v>
                </c:pt>
                <c:pt idx="24">
                  <c:v>1.9752751</c:v>
                </c:pt>
                <c:pt idx="25">
                  <c:v>1.1287811999999999</c:v>
                </c:pt>
                <c:pt idx="26">
                  <c:v>1.9752835</c:v>
                </c:pt>
                <c:pt idx="27">
                  <c:v>3.2447241</c:v>
                </c:pt>
                <c:pt idx="28">
                  <c:v>2.3979902000000002</c:v>
                </c:pt>
                <c:pt idx="29">
                  <c:v>5.3595782999999999</c:v>
                </c:pt>
                <c:pt idx="30">
                  <c:v>3.6667127000000002</c:v>
                </c:pt>
                <c:pt idx="31">
                  <c:v>3.5255559999999999</c:v>
                </c:pt>
                <c:pt idx="32">
                  <c:v>5.3586789000000001</c:v>
                </c:pt>
                <c:pt idx="33">
                  <c:v>5.2174991999999998</c:v>
                </c:pt>
                <c:pt idx="34">
                  <c:v>9.1653470000000006</c:v>
                </c:pt>
                <c:pt idx="35">
                  <c:v>14.3694556</c:v>
                </c:pt>
                <c:pt idx="36">
                  <c:v>29.405102400000001</c:v>
                </c:pt>
                <c:pt idx="37">
                  <c:v>38.219370699999999</c:v>
                </c:pt>
                <c:pt idx="38">
                  <c:v>55.009591499999999</c:v>
                </c:pt>
                <c:pt idx="39">
                  <c:v>92.633207499999997</c:v>
                </c:pt>
                <c:pt idx="40">
                  <c:v>198.08411359999999</c:v>
                </c:pt>
                <c:pt idx="41">
                  <c:v>333.37948060000002</c:v>
                </c:pt>
                <c:pt idx="42">
                  <c:v>470.485027</c:v>
                </c:pt>
                <c:pt idx="43">
                  <c:v>366.44706819999999</c:v>
                </c:pt>
                <c:pt idx="44">
                  <c:v>283.82596280000001</c:v>
                </c:pt>
                <c:pt idx="45">
                  <c:v>184.10589569999999</c:v>
                </c:pt>
                <c:pt idx="46">
                  <c:v>177.24206340000001</c:v>
                </c:pt>
                <c:pt idx="47">
                  <c:v>134.53226409999999</c:v>
                </c:pt>
                <c:pt idx="48">
                  <c:v>166.5967885</c:v>
                </c:pt>
                <c:pt idx="49">
                  <c:v>167.13686910000001</c:v>
                </c:pt>
                <c:pt idx="50">
                  <c:v>194.0055069</c:v>
                </c:pt>
                <c:pt idx="51">
                  <c:v>199.08818160000001</c:v>
                </c:pt>
                <c:pt idx="52">
                  <c:v>299.7694824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42.9149797</c:v>
                </c:pt>
                <c:pt idx="1">
                  <c:v>181.17271930000001</c:v>
                </c:pt>
                <c:pt idx="2">
                  <c:v>147.89659710000001</c:v>
                </c:pt>
                <c:pt idx="3">
                  <c:v>113.7405522</c:v>
                </c:pt>
                <c:pt idx="4">
                  <c:v>93.126539600000001</c:v>
                </c:pt>
                <c:pt idx="5">
                  <c:v>89.386219199999999</c:v>
                </c:pt>
                <c:pt idx="6">
                  <c:v>89.111961800000003</c:v>
                </c:pt>
                <c:pt idx="7">
                  <c:v>103.13499849999999</c:v>
                </c:pt>
                <c:pt idx="8">
                  <c:v>105.6259342</c:v>
                </c:pt>
                <c:pt idx="9">
                  <c:v>90.868606700000001</c:v>
                </c:pt>
                <c:pt idx="10">
                  <c:v>79.1065009</c:v>
                </c:pt>
                <c:pt idx="11">
                  <c:v>63.059741799999998</c:v>
                </c:pt>
                <c:pt idx="12">
                  <c:v>42.525251900000001</c:v>
                </c:pt>
                <c:pt idx="13">
                  <c:v>35.849586700000003</c:v>
                </c:pt>
                <c:pt idx="14">
                  <c:v>22.956079200000001</c:v>
                </c:pt>
                <c:pt idx="15">
                  <c:v>19.066698899999999</c:v>
                </c:pt>
                <c:pt idx="16">
                  <c:v>8.8345196999999995</c:v>
                </c:pt>
                <c:pt idx="17">
                  <c:v>11.588252799999999</c:v>
                </c:pt>
                <c:pt idx="18">
                  <c:v>8.9698475000000002</c:v>
                </c:pt>
                <c:pt idx="19">
                  <c:v>4.4175525000000002</c:v>
                </c:pt>
                <c:pt idx="20">
                  <c:v>3.5905849000000001</c:v>
                </c:pt>
                <c:pt idx="21">
                  <c:v>1.5196308000000001</c:v>
                </c:pt>
                <c:pt idx="22">
                  <c:v>1.5198701999999999</c:v>
                </c:pt>
                <c:pt idx="23">
                  <c:v>0.69092359999999997</c:v>
                </c:pt>
                <c:pt idx="24">
                  <c:v>1.1055923000000001</c:v>
                </c:pt>
                <c:pt idx="25">
                  <c:v>0.69106780000000001</c:v>
                </c:pt>
                <c:pt idx="26">
                  <c:v>1.1051708</c:v>
                </c:pt>
                <c:pt idx="27">
                  <c:v>1.2421279999999999</c:v>
                </c:pt>
                <c:pt idx="28">
                  <c:v>1.5167079000000001</c:v>
                </c:pt>
                <c:pt idx="29">
                  <c:v>1.2397598999999999</c:v>
                </c:pt>
                <c:pt idx="30">
                  <c:v>1.1012457</c:v>
                </c:pt>
                <c:pt idx="31">
                  <c:v>0.96383680000000005</c:v>
                </c:pt>
                <c:pt idx="32">
                  <c:v>2.0660530000000001</c:v>
                </c:pt>
                <c:pt idx="33">
                  <c:v>0.96447819999999995</c:v>
                </c:pt>
                <c:pt idx="34">
                  <c:v>1.2404297</c:v>
                </c:pt>
                <c:pt idx="35">
                  <c:v>2.8929643999999999</c:v>
                </c:pt>
                <c:pt idx="36">
                  <c:v>2.3399893999999999</c:v>
                </c:pt>
                <c:pt idx="37">
                  <c:v>4.9511759</c:v>
                </c:pt>
                <c:pt idx="38">
                  <c:v>6.5961246999999998</c:v>
                </c:pt>
                <c:pt idx="39">
                  <c:v>9.0644399</c:v>
                </c:pt>
                <c:pt idx="40">
                  <c:v>10.9869132</c:v>
                </c:pt>
                <c:pt idx="41">
                  <c:v>18.814933799999999</c:v>
                </c:pt>
                <c:pt idx="42">
                  <c:v>43.946928499999999</c:v>
                </c:pt>
                <c:pt idx="43">
                  <c:v>69.628319300000001</c:v>
                </c:pt>
                <c:pt idx="44">
                  <c:v>98.885885599999995</c:v>
                </c:pt>
                <c:pt idx="45">
                  <c:v>116.19841630000001</c:v>
                </c:pt>
                <c:pt idx="46">
                  <c:v>154.8032268</c:v>
                </c:pt>
                <c:pt idx="47">
                  <c:v>143.55125190000001</c:v>
                </c:pt>
                <c:pt idx="48">
                  <c:v>110.3614716</c:v>
                </c:pt>
                <c:pt idx="49">
                  <c:v>85.817431600000006</c:v>
                </c:pt>
                <c:pt idx="50">
                  <c:v>56.699172300000001</c:v>
                </c:pt>
                <c:pt idx="51">
                  <c:v>43.103566899999997</c:v>
                </c:pt>
                <c:pt idx="52">
                  <c:v>42.9153505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6.7681033</c:v>
                </c:pt>
                <c:pt idx="1">
                  <c:v>60.151498799999999</c:v>
                </c:pt>
                <c:pt idx="2">
                  <c:v>156.0646212</c:v>
                </c:pt>
                <c:pt idx="3">
                  <c:v>286.18345190000002</c:v>
                </c:pt>
                <c:pt idx="4">
                  <c:v>325.2971799</c:v>
                </c:pt>
                <c:pt idx="5">
                  <c:v>271.57677469999999</c:v>
                </c:pt>
                <c:pt idx="6">
                  <c:v>197.986694</c:v>
                </c:pt>
                <c:pt idx="7">
                  <c:v>120.7103231</c:v>
                </c:pt>
                <c:pt idx="8">
                  <c:v>104.8685795</c:v>
                </c:pt>
                <c:pt idx="9">
                  <c:v>102.2539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98</c:f>
              <c:numCache>
                <c:formatCode>m/d/yyyy</c:formatCode>
                <c:ptCount val="26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</c:numCache>
            </c:numRef>
          </c:cat>
          <c:val>
            <c:numRef>
              <c:f>Sheet1!$B$135:$B$398</c:f>
              <c:numCache>
                <c:formatCode>General</c:formatCode>
                <c:ptCount val="264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1</c:v>
                </c:pt>
                <c:pt idx="21">
                  <c:v>2</c:v>
                </c:pt>
                <c:pt idx="22">
                  <c:v>0</c:v>
                </c:pt>
                <c:pt idx="23">
                  <c:v>4</c:v>
                </c:pt>
                <c:pt idx="24">
                  <c:v>2</c:v>
                </c:pt>
                <c:pt idx="25">
                  <c:v>5</c:v>
                </c:pt>
                <c:pt idx="26">
                  <c:v>1</c:v>
                </c:pt>
                <c:pt idx="27">
                  <c:v>1</c:v>
                </c:pt>
                <c:pt idx="28">
                  <c:v>4</c:v>
                </c:pt>
                <c:pt idx="29">
                  <c:v>5</c:v>
                </c:pt>
                <c:pt idx="30">
                  <c:v>1</c:v>
                </c:pt>
                <c:pt idx="31">
                  <c:v>3</c:v>
                </c:pt>
                <c:pt idx="32">
                  <c:v>2</c:v>
                </c:pt>
                <c:pt idx="33">
                  <c:v>0</c:v>
                </c:pt>
                <c:pt idx="34">
                  <c:v>2</c:v>
                </c:pt>
                <c:pt idx="35">
                  <c:v>3</c:v>
                </c:pt>
                <c:pt idx="36">
                  <c:v>3</c:v>
                </c:pt>
                <c:pt idx="37">
                  <c:v>1</c:v>
                </c:pt>
                <c:pt idx="38">
                  <c:v>4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4</c:v>
                </c:pt>
                <c:pt idx="44">
                  <c:v>2</c:v>
                </c:pt>
                <c:pt idx="45">
                  <c:v>1</c:v>
                </c:pt>
                <c:pt idx="46">
                  <c:v>4</c:v>
                </c:pt>
                <c:pt idx="47">
                  <c:v>1</c:v>
                </c:pt>
                <c:pt idx="48">
                  <c:v>0</c:v>
                </c:pt>
                <c:pt idx="49">
                  <c:v>8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7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3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3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0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5</c:v>
                </c:pt>
                <c:pt idx="74">
                  <c:v>6</c:v>
                </c:pt>
                <c:pt idx="75">
                  <c:v>5</c:v>
                </c:pt>
                <c:pt idx="76">
                  <c:v>1</c:v>
                </c:pt>
                <c:pt idx="77">
                  <c:v>5</c:v>
                </c:pt>
                <c:pt idx="78">
                  <c:v>4</c:v>
                </c:pt>
                <c:pt idx="79">
                  <c:v>1</c:v>
                </c:pt>
                <c:pt idx="80">
                  <c:v>3</c:v>
                </c:pt>
                <c:pt idx="81">
                  <c:v>2</c:v>
                </c:pt>
                <c:pt idx="82">
                  <c:v>0</c:v>
                </c:pt>
                <c:pt idx="83">
                  <c:v>3</c:v>
                </c:pt>
                <c:pt idx="84">
                  <c:v>2</c:v>
                </c:pt>
                <c:pt idx="85">
                  <c:v>3</c:v>
                </c:pt>
                <c:pt idx="86">
                  <c:v>5</c:v>
                </c:pt>
                <c:pt idx="87">
                  <c:v>8</c:v>
                </c:pt>
                <c:pt idx="88">
                  <c:v>4</c:v>
                </c:pt>
                <c:pt idx="89">
                  <c:v>2</c:v>
                </c:pt>
                <c:pt idx="90">
                  <c:v>6</c:v>
                </c:pt>
                <c:pt idx="91">
                  <c:v>8</c:v>
                </c:pt>
                <c:pt idx="92">
                  <c:v>9</c:v>
                </c:pt>
                <c:pt idx="93">
                  <c:v>8</c:v>
                </c:pt>
                <c:pt idx="94">
                  <c:v>7</c:v>
                </c:pt>
                <c:pt idx="95">
                  <c:v>5</c:v>
                </c:pt>
                <c:pt idx="96">
                  <c:v>4</c:v>
                </c:pt>
                <c:pt idx="97">
                  <c:v>2</c:v>
                </c:pt>
                <c:pt idx="98">
                  <c:v>7</c:v>
                </c:pt>
                <c:pt idx="99">
                  <c:v>6</c:v>
                </c:pt>
                <c:pt idx="100">
                  <c:v>9</c:v>
                </c:pt>
                <c:pt idx="101">
                  <c:v>12</c:v>
                </c:pt>
                <c:pt idx="102">
                  <c:v>11</c:v>
                </c:pt>
                <c:pt idx="103">
                  <c:v>4</c:v>
                </c:pt>
                <c:pt idx="104">
                  <c:v>6</c:v>
                </c:pt>
                <c:pt idx="105">
                  <c:v>10</c:v>
                </c:pt>
                <c:pt idx="106">
                  <c:v>13</c:v>
                </c:pt>
                <c:pt idx="107">
                  <c:v>13</c:v>
                </c:pt>
                <c:pt idx="108">
                  <c:v>15</c:v>
                </c:pt>
                <c:pt idx="109">
                  <c:v>11</c:v>
                </c:pt>
                <c:pt idx="110">
                  <c:v>8</c:v>
                </c:pt>
                <c:pt idx="111">
                  <c:v>5</c:v>
                </c:pt>
                <c:pt idx="112">
                  <c:v>19</c:v>
                </c:pt>
                <c:pt idx="113">
                  <c:v>31</c:v>
                </c:pt>
                <c:pt idx="114">
                  <c:v>19</c:v>
                </c:pt>
                <c:pt idx="115">
                  <c:v>19</c:v>
                </c:pt>
                <c:pt idx="116">
                  <c:v>14</c:v>
                </c:pt>
                <c:pt idx="117">
                  <c:v>9</c:v>
                </c:pt>
                <c:pt idx="118">
                  <c:v>12</c:v>
                </c:pt>
                <c:pt idx="119">
                  <c:v>39</c:v>
                </c:pt>
                <c:pt idx="120">
                  <c:v>56</c:v>
                </c:pt>
                <c:pt idx="121">
                  <c:v>48</c:v>
                </c:pt>
                <c:pt idx="122">
                  <c:v>54</c:v>
                </c:pt>
                <c:pt idx="123">
                  <c:v>46</c:v>
                </c:pt>
                <c:pt idx="124">
                  <c:v>28</c:v>
                </c:pt>
                <c:pt idx="125">
                  <c:v>22</c:v>
                </c:pt>
                <c:pt idx="126">
                  <c:v>81</c:v>
                </c:pt>
                <c:pt idx="127">
                  <c:v>88</c:v>
                </c:pt>
                <c:pt idx="128">
                  <c:v>64</c:v>
                </c:pt>
                <c:pt idx="129">
                  <c:v>43</c:v>
                </c:pt>
                <c:pt idx="130">
                  <c:v>82</c:v>
                </c:pt>
                <c:pt idx="131">
                  <c:v>55</c:v>
                </c:pt>
                <c:pt idx="132">
                  <c:v>42</c:v>
                </c:pt>
                <c:pt idx="133">
                  <c:v>135</c:v>
                </c:pt>
                <c:pt idx="134">
                  <c:v>129</c:v>
                </c:pt>
                <c:pt idx="135">
                  <c:v>108</c:v>
                </c:pt>
                <c:pt idx="136">
                  <c:v>114</c:v>
                </c:pt>
                <c:pt idx="137">
                  <c:v>133</c:v>
                </c:pt>
                <c:pt idx="138">
                  <c:v>55</c:v>
                </c:pt>
                <c:pt idx="139">
                  <c:v>40</c:v>
                </c:pt>
                <c:pt idx="140">
                  <c:v>130</c:v>
                </c:pt>
                <c:pt idx="141">
                  <c:v>146</c:v>
                </c:pt>
                <c:pt idx="142">
                  <c:v>148</c:v>
                </c:pt>
                <c:pt idx="143">
                  <c:v>121</c:v>
                </c:pt>
                <c:pt idx="144">
                  <c:v>172</c:v>
                </c:pt>
                <c:pt idx="145">
                  <c:v>93</c:v>
                </c:pt>
                <c:pt idx="146">
                  <c:v>53</c:v>
                </c:pt>
                <c:pt idx="147">
                  <c:v>166</c:v>
                </c:pt>
                <c:pt idx="148">
                  <c:v>198</c:v>
                </c:pt>
                <c:pt idx="149">
                  <c:v>143</c:v>
                </c:pt>
                <c:pt idx="150">
                  <c:v>165</c:v>
                </c:pt>
                <c:pt idx="151">
                  <c:v>260</c:v>
                </c:pt>
                <c:pt idx="152">
                  <c:v>124</c:v>
                </c:pt>
                <c:pt idx="153">
                  <c:v>89</c:v>
                </c:pt>
                <c:pt idx="154">
                  <c:v>204</c:v>
                </c:pt>
                <c:pt idx="155">
                  <c:v>219</c:v>
                </c:pt>
                <c:pt idx="156">
                  <c:v>185</c:v>
                </c:pt>
                <c:pt idx="157">
                  <c:v>263</c:v>
                </c:pt>
                <c:pt idx="158">
                  <c:v>158</c:v>
                </c:pt>
                <c:pt idx="159">
                  <c:v>118</c:v>
                </c:pt>
                <c:pt idx="160">
                  <c:v>85</c:v>
                </c:pt>
                <c:pt idx="161">
                  <c:v>207</c:v>
                </c:pt>
                <c:pt idx="162">
                  <c:v>199</c:v>
                </c:pt>
                <c:pt idx="163">
                  <c:v>172</c:v>
                </c:pt>
                <c:pt idx="164">
                  <c:v>134</c:v>
                </c:pt>
                <c:pt idx="165">
                  <c:v>161</c:v>
                </c:pt>
                <c:pt idx="166">
                  <c:v>99</c:v>
                </c:pt>
                <c:pt idx="167">
                  <c:v>65</c:v>
                </c:pt>
                <c:pt idx="168">
                  <c:v>197</c:v>
                </c:pt>
                <c:pt idx="169">
                  <c:v>167</c:v>
                </c:pt>
                <c:pt idx="170">
                  <c:v>141</c:v>
                </c:pt>
                <c:pt idx="171">
                  <c:v>117</c:v>
                </c:pt>
                <c:pt idx="172">
                  <c:v>100</c:v>
                </c:pt>
                <c:pt idx="173">
                  <c:v>79</c:v>
                </c:pt>
                <c:pt idx="174">
                  <c:v>63</c:v>
                </c:pt>
                <c:pt idx="175">
                  <c:v>123</c:v>
                </c:pt>
                <c:pt idx="176">
                  <c:v>174</c:v>
                </c:pt>
                <c:pt idx="177">
                  <c:v>96</c:v>
                </c:pt>
                <c:pt idx="178">
                  <c:v>90</c:v>
                </c:pt>
                <c:pt idx="179">
                  <c:v>97</c:v>
                </c:pt>
                <c:pt idx="180">
                  <c:v>63</c:v>
                </c:pt>
                <c:pt idx="181">
                  <c:v>43</c:v>
                </c:pt>
                <c:pt idx="182">
                  <c:v>107</c:v>
                </c:pt>
                <c:pt idx="183">
                  <c:v>99</c:v>
                </c:pt>
                <c:pt idx="184">
                  <c:v>45</c:v>
                </c:pt>
                <c:pt idx="185">
                  <c:v>78</c:v>
                </c:pt>
                <c:pt idx="186">
                  <c:v>22</c:v>
                </c:pt>
                <c:pt idx="187">
                  <c:v>14</c:v>
                </c:pt>
                <c:pt idx="188">
                  <c:v>22</c:v>
                </c:pt>
                <c:pt idx="189">
                  <c:v>70</c:v>
                </c:pt>
                <c:pt idx="190">
                  <c:v>94</c:v>
                </c:pt>
                <c:pt idx="191">
                  <c:v>67</c:v>
                </c:pt>
                <c:pt idx="192">
                  <c:v>64</c:v>
                </c:pt>
                <c:pt idx="193">
                  <c:v>76</c:v>
                </c:pt>
                <c:pt idx="194">
                  <c:v>15</c:v>
                </c:pt>
                <c:pt idx="195">
                  <c:v>28</c:v>
                </c:pt>
                <c:pt idx="196">
                  <c:v>101</c:v>
                </c:pt>
                <c:pt idx="197">
                  <c:v>97</c:v>
                </c:pt>
                <c:pt idx="198">
                  <c:v>86</c:v>
                </c:pt>
                <c:pt idx="199">
                  <c:v>78</c:v>
                </c:pt>
                <c:pt idx="200">
                  <c:v>78</c:v>
                </c:pt>
                <c:pt idx="201">
                  <c:v>35</c:v>
                </c:pt>
                <c:pt idx="202">
                  <c:v>28</c:v>
                </c:pt>
                <c:pt idx="203">
                  <c:v>83</c:v>
                </c:pt>
                <c:pt idx="204">
                  <c:v>115</c:v>
                </c:pt>
                <c:pt idx="205">
                  <c:v>115</c:v>
                </c:pt>
                <c:pt idx="206">
                  <c:v>95</c:v>
                </c:pt>
                <c:pt idx="207">
                  <c:v>112</c:v>
                </c:pt>
                <c:pt idx="208">
                  <c:v>79</c:v>
                </c:pt>
                <c:pt idx="209">
                  <c:v>68</c:v>
                </c:pt>
                <c:pt idx="210">
                  <c:v>212</c:v>
                </c:pt>
                <c:pt idx="211">
                  <c:v>248</c:v>
                </c:pt>
                <c:pt idx="212">
                  <c:v>305</c:v>
                </c:pt>
                <c:pt idx="213">
                  <c:v>297</c:v>
                </c:pt>
                <c:pt idx="214">
                  <c:v>263</c:v>
                </c:pt>
                <c:pt idx="215">
                  <c:v>174</c:v>
                </c:pt>
                <c:pt idx="216">
                  <c:v>166</c:v>
                </c:pt>
                <c:pt idx="217">
                  <c:v>370</c:v>
                </c:pt>
                <c:pt idx="218">
                  <c:v>358</c:v>
                </c:pt>
                <c:pt idx="219">
                  <c:v>451</c:v>
                </c:pt>
                <c:pt idx="220">
                  <c:v>644</c:v>
                </c:pt>
                <c:pt idx="221">
                  <c:v>543</c:v>
                </c:pt>
                <c:pt idx="222">
                  <c:v>222</c:v>
                </c:pt>
                <c:pt idx="223">
                  <c:v>240</c:v>
                </c:pt>
                <c:pt idx="224">
                  <c:v>515</c:v>
                </c:pt>
                <c:pt idx="225">
                  <c:v>657</c:v>
                </c:pt>
                <c:pt idx="226">
                  <c:v>515</c:v>
                </c:pt>
                <c:pt idx="227">
                  <c:v>484</c:v>
                </c:pt>
                <c:pt idx="228">
                  <c:v>411</c:v>
                </c:pt>
                <c:pt idx="229">
                  <c:v>268</c:v>
                </c:pt>
                <c:pt idx="230">
                  <c:v>147</c:v>
                </c:pt>
                <c:pt idx="231">
                  <c:v>573</c:v>
                </c:pt>
                <c:pt idx="232">
                  <c:v>486</c:v>
                </c:pt>
                <c:pt idx="233">
                  <c:v>411</c:v>
                </c:pt>
                <c:pt idx="234">
                  <c:v>359</c:v>
                </c:pt>
                <c:pt idx="235">
                  <c:v>311</c:v>
                </c:pt>
                <c:pt idx="236">
                  <c:v>159</c:v>
                </c:pt>
                <c:pt idx="237">
                  <c:v>122</c:v>
                </c:pt>
                <c:pt idx="238">
                  <c:v>323</c:v>
                </c:pt>
                <c:pt idx="239">
                  <c:v>374</c:v>
                </c:pt>
                <c:pt idx="240">
                  <c:v>250</c:v>
                </c:pt>
                <c:pt idx="241">
                  <c:v>233</c:v>
                </c:pt>
                <c:pt idx="242">
                  <c:v>197</c:v>
                </c:pt>
                <c:pt idx="243">
                  <c:v>108</c:v>
                </c:pt>
                <c:pt idx="244">
                  <c:v>70</c:v>
                </c:pt>
                <c:pt idx="245">
                  <c:v>260</c:v>
                </c:pt>
                <c:pt idx="246">
                  <c:v>211</c:v>
                </c:pt>
                <c:pt idx="247">
                  <c:v>160</c:v>
                </c:pt>
                <c:pt idx="248">
                  <c:v>171</c:v>
                </c:pt>
                <c:pt idx="249">
                  <c:v>133</c:v>
                </c:pt>
                <c:pt idx="250">
                  <c:v>85</c:v>
                </c:pt>
                <c:pt idx="251">
                  <c:v>52</c:v>
                </c:pt>
                <c:pt idx="252">
                  <c:v>218</c:v>
                </c:pt>
                <c:pt idx="253">
                  <c:v>182</c:v>
                </c:pt>
                <c:pt idx="254">
                  <c:v>146</c:v>
                </c:pt>
                <c:pt idx="255">
                  <c:v>124</c:v>
                </c:pt>
                <c:pt idx="256">
                  <c:v>111</c:v>
                </c:pt>
                <c:pt idx="257">
                  <c:v>68</c:v>
                </c:pt>
                <c:pt idx="258">
                  <c:v>48</c:v>
                </c:pt>
                <c:pt idx="259">
                  <c:v>210</c:v>
                </c:pt>
                <c:pt idx="260">
                  <c:v>166</c:v>
                </c:pt>
                <c:pt idx="261">
                  <c:v>176</c:v>
                </c:pt>
                <c:pt idx="262">
                  <c:v>123</c:v>
                </c:pt>
                <c:pt idx="263">
                  <c:v>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32531850000000001</c:v>
                </c:pt>
                <c:pt idx="10">
                  <c:v>0.56930740000000002</c:v>
                </c:pt>
                <c:pt idx="11">
                  <c:v>3.9038227999999999</c:v>
                </c:pt>
                <c:pt idx="12">
                  <c:v>8.9462606000000005</c:v>
                </c:pt>
                <c:pt idx="13">
                  <c:v>10.7266317</c:v>
                </c:pt>
                <c:pt idx="14">
                  <c:v>10.8733225</c:v>
                </c:pt>
                <c:pt idx="15">
                  <c:v>9.2370070000000002</c:v>
                </c:pt>
                <c:pt idx="16">
                  <c:v>3.3981737000000001</c:v>
                </c:pt>
                <c:pt idx="17">
                  <c:v>3.7173098000000002</c:v>
                </c:pt>
                <c:pt idx="18">
                  <c:v>1.2926325999999999</c:v>
                </c:pt>
                <c:pt idx="19">
                  <c:v>0.80774919999999995</c:v>
                </c:pt>
                <c:pt idx="20">
                  <c:v>0.64608239999999995</c:v>
                </c:pt>
                <c:pt idx="21">
                  <c:v>1.6149036000000001</c:v>
                </c:pt>
                <c:pt idx="22">
                  <c:v>2.2603138</c:v>
                </c:pt>
                <c:pt idx="23">
                  <c:v>1.6140903</c:v>
                </c:pt>
                <c:pt idx="24">
                  <c:v>2.2591394</c:v>
                </c:pt>
                <c:pt idx="25">
                  <c:v>1.6132518</c:v>
                </c:pt>
                <c:pt idx="26">
                  <c:v>1.2903100000000001</c:v>
                </c:pt>
                <c:pt idx="27">
                  <c:v>2.5802789000000002</c:v>
                </c:pt>
                <c:pt idx="28">
                  <c:v>3.0636760000000001</c:v>
                </c:pt>
                <c:pt idx="29">
                  <c:v>4.0306262999999998</c:v>
                </c:pt>
                <c:pt idx="30">
                  <c:v>4.0298790999999996</c:v>
                </c:pt>
                <c:pt idx="31">
                  <c:v>5.1563917000000004</c:v>
                </c:pt>
                <c:pt idx="32">
                  <c:v>8.0538123000000006</c:v>
                </c:pt>
                <c:pt idx="33">
                  <c:v>5.6355445</c:v>
                </c:pt>
                <c:pt idx="34">
                  <c:v>5.311401</c:v>
                </c:pt>
                <c:pt idx="35">
                  <c:v>15.273753900000001</c:v>
                </c:pt>
                <c:pt idx="36">
                  <c:v>29.541385999999999</c:v>
                </c:pt>
                <c:pt idx="37">
                  <c:v>45.693140800000002</c:v>
                </c:pt>
                <c:pt idx="38">
                  <c:v>48.190919200000003</c:v>
                </c:pt>
                <c:pt idx="39">
                  <c:v>99.745680399999998</c:v>
                </c:pt>
                <c:pt idx="40">
                  <c:v>175.0969657</c:v>
                </c:pt>
                <c:pt idx="41">
                  <c:v>315.74249689999999</c:v>
                </c:pt>
                <c:pt idx="42">
                  <c:v>415.87618880000002</c:v>
                </c:pt>
                <c:pt idx="43">
                  <c:v>339.52377689999997</c:v>
                </c:pt>
                <c:pt idx="44">
                  <c:v>253.58854700000001</c:v>
                </c:pt>
                <c:pt idx="45">
                  <c:v>167.7566645</c:v>
                </c:pt>
                <c:pt idx="46">
                  <c:v>136.7838673</c:v>
                </c:pt>
                <c:pt idx="47">
                  <c:v>107.92666610000001</c:v>
                </c:pt>
                <c:pt idx="48">
                  <c:v>123.7681638</c:v>
                </c:pt>
                <c:pt idx="49">
                  <c:v>137.60633390000001</c:v>
                </c:pt>
                <c:pt idx="50">
                  <c:v>165.3338627</c:v>
                </c:pt>
                <c:pt idx="51">
                  <c:v>182.24771139999999</c:v>
                </c:pt>
                <c:pt idx="52">
                  <c:v>310.8528178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20.59368739999999</c:v>
                </c:pt>
                <c:pt idx="1">
                  <c:v>180.05458820000001</c:v>
                </c:pt>
                <c:pt idx="2">
                  <c:v>143.34157500000001</c:v>
                </c:pt>
                <c:pt idx="3">
                  <c:v>123.3003655</c:v>
                </c:pt>
                <c:pt idx="4">
                  <c:v>97.980790799999994</c:v>
                </c:pt>
                <c:pt idx="5">
                  <c:v>105.32788720000001</c:v>
                </c:pt>
                <c:pt idx="6">
                  <c:v>102.6114776</c:v>
                </c:pt>
                <c:pt idx="7">
                  <c:v>115.5572652</c:v>
                </c:pt>
                <c:pt idx="8">
                  <c:v>133.2977458</c:v>
                </c:pt>
                <c:pt idx="9">
                  <c:v>106.3511479</c:v>
                </c:pt>
                <c:pt idx="10">
                  <c:v>95.389507100000003</c:v>
                </c:pt>
                <c:pt idx="11">
                  <c:v>65.273343699999998</c:v>
                </c:pt>
                <c:pt idx="12">
                  <c:v>52.988603500000004</c:v>
                </c:pt>
                <c:pt idx="13">
                  <c:v>27.290303999999999</c:v>
                </c:pt>
                <c:pt idx="14">
                  <c:v>28.144666600000001</c:v>
                </c:pt>
                <c:pt idx="15">
                  <c:v>20.250337099999999</c:v>
                </c:pt>
                <c:pt idx="16">
                  <c:v>12.3953662</c:v>
                </c:pt>
                <c:pt idx="17">
                  <c:v>13.441907199999999</c:v>
                </c:pt>
                <c:pt idx="18">
                  <c:v>10.543123599999999</c:v>
                </c:pt>
                <c:pt idx="19">
                  <c:v>6.8793243999999998</c:v>
                </c:pt>
                <c:pt idx="20">
                  <c:v>3.3648764999999998</c:v>
                </c:pt>
                <c:pt idx="21">
                  <c:v>1.3771827999999999</c:v>
                </c:pt>
                <c:pt idx="22">
                  <c:v>1.6835659999999999</c:v>
                </c:pt>
                <c:pt idx="23">
                  <c:v>0.45921339999999999</c:v>
                </c:pt>
                <c:pt idx="24">
                  <c:v>1.2247266000000001</c:v>
                </c:pt>
                <c:pt idx="25">
                  <c:v>0.91866309999999995</c:v>
                </c:pt>
                <c:pt idx="26">
                  <c:v>0.4592099</c:v>
                </c:pt>
                <c:pt idx="27">
                  <c:v>2.4476507999999999</c:v>
                </c:pt>
                <c:pt idx="28">
                  <c:v>2.9048699999999998</c:v>
                </c:pt>
                <c:pt idx="29">
                  <c:v>2.1391518</c:v>
                </c:pt>
                <c:pt idx="30">
                  <c:v>1.9858636999999999</c:v>
                </c:pt>
                <c:pt idx="31">
                  <c:v>2.140784</c:v>
                </c:pt>
                <c:pt idx="32">
                  <c:v>2.1431665</c:v>
                </c:pt>
                <c:pt idx="33">
                  <c:v>2.4520583999999999</c:v>
                </c:pt>
                <c:pt idx="34">
                  <c:v>1.3808001000000001</c:v>
                </c:pt>
                <c:pt idx="35">
                  <c:v>3.9912928000000001</c:v>
                </c:pt>
                <c:pt idx="36">
                  <c:v>2.7641361999999998</c:v>
                </c:pt>
                <c:pt idx="37">
                  <c:v>6.7590712999999996</c:v>
                </c:pt>
                <c:pt idx="38">
                  <c:v>5.5320188000000003</c:v>
                </c:pt>
                <c:pt idx="39">
                  <c:v>9.8399622000000004</c:v>
                </c:pt>
                <c:pt idx="40">
                  <c:v>16.001132299999998</c:v>
                </c:pt>
                <c:pt idx="41">
                  <c:v>29.099127899999999</c:v>
                </c:pt>
                <c:pt idx="42">
                  <c:v>55.927722199999998</c:v>
                </c:pt>
                <c:pt idx="43">
                  <c:v>88.033326200000005</c:v>
                </c:pt>
                <c:pt idx="44">
                  <c:v>112.2992342</c:v>
                </c:pt>
                <c:pt idx="45">
                  <c:v>138.43959889999999</c:v>
                </c:pt>
                <c:pt idx="46">
                  <c:v>181.59301540000001</c:v>
                </c:pt>
                <c:pt idx="47">
                  <c:v>172.727048</c:v>
                </c:pt>
                <c:pt idx="48">
                  <c:v>139.5762939</c:v>
                </c:pt>
                <c:pt idx="49">
                  <c:v>108.39228420000001</c:v>
                </c:pt>
                <c:pt idx="50">
                  <c:v>79.042212500000005</c:v>
                </c:pt>
                <c:pt idx="51">
                  <c:v>52.146436999999999</c:v>
                </c:pt>
                <c:pt idx="52">
                  <c:v>70.4217722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63.569932299999998</c:v>
                </c:pt>
                <c:pt idx="1">
                  <c:v>77.140453100000002</c:v>
                </c:pt>
                <c:pt idx="2">
                  <c:v>174.56989340000001</c:v>
                </c:pt>
                <c:pt idx="3">
                  <c:v>305.9333863</c:v>
                </c:pt>
                <c:pt idx="4">
                  <c:v>337.15304140000001</c:v>
                </c:pt>
                <c:pt idx="5">
                  <c:v>286.96792010000001</c:v>
                </c:pt>
                <c:pt idx="6">
                  <c:v>182.0269223</c:v>
                </c:pt>
                <c:pt idx="7">
                  <c:v>123.65775549999999</c:v>
                </c:pt>
                <c:pt idx="8">
                  <c:v>102.49606199999999</c:v>
                </c:pt>
                <c:pt idx="9">
                  <c:v>103.3207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98</c:f>
              <c:numCache>
                <c:formatCode>m/d/yyyy</c:formatCode>
                <c:ptCount val="26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</c:numCache>
            </c:numRef>
          </c:cat>
          <c:val>
            <c:numRef>
              <c:f>Sheet1!$B$135:$B$398</c:f>
              <c:numCache>
                <c:formatCode>General</c:formatCode>
                <c:ptCount val="264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6</c:v>
                </c:pt>
                <c:pt idx="18">
                  <c:v>6</c:v>
                </c:pt>
                <c:pt idx="19">
                  <c:v>1</c:v>
                </c:pt>
                <c:pt idx="20">
                  <c:v>1</c:v>
                </c:pt>
                <c:pt idx="21">
                  <c:v>7</c:v>
                </c:pt>
                <c:pt idx="22">
                  <c:v>4</c:v>
                </c:pt>
                <c:pt idx="23">
                  <c:v>7</c:v>
                </c:pt>
                <c:pt idx="24">
                  <c:v>5</c:v>
                </c:pt>
                <c:pt idx="25">
                  <c:v>8</c:v>
                </c:pt>
                <c:pt idx="26">
                  <c:v>3</c:v>
                </c:pt>
                <c:pt idx="27">
                  <c:v>4</c:v>
                </c:pt>
                <c:pt idx="28">
                  <c:v>11</c:v>
                </c:pt>
                <c:pt idx="29">
                  <c:v>8</c:v>
                </c:pt>
                <c:pt idx="30">
                  <c:v>7</c:v>
                </c:pt>
                <c:pt idx="31">
                  <c:v>7</c:v>
                </c:pt>
                <c:pt idx="32">
                  <c:v>6</c:v>
                </c:pt>
                <c:pt idx="33">
                  <c:v>1</c:v>
                </c:pt>
                <c:pt idx="34">
                  <c:v>4</c:v>
                </c:pt>
                <c:pt idx="35">
                  <c:v>9</c:v>
                </c:pt>
                <c:pt idx="36">
                  <c:v>4</c:v>
                </c:pt>
                <c:pt idx="37">
                  <c:v>2</c:v>
                </c:pt>
                <c:pt idx="38">
                  <c:v>8</c:v>
                </c:pt>
                <c:pt idx="39">
                  <c:v>5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6</c:v>
                </c:pt>
                <c:pt idx="44">
                  <c:v>11</c:v>
                </c:pt>
                <c:pt idx="45">
                  <c:v>3</c:v>
                </c:pt>
                <c:pt idx="46">
                  <c:v>7</c:v>
                </c:pt>
                <c:pt idx="47">
                  <c:v>1</c:v>
                </c:pt>
                <c:pt idx="48">
                  <c:v>3</c:v>
                </c:pt>
                <c:pt idx="49">
                  <c:v>12</c:v>
                </c:pt>
                <c:pt idx="50">
                  <c:v>3</c:v>
                </c:pt>
                <c:pt idx="51">
                  <c:v>7</c:v>
                </c:pt>
                <c:pt idx="52">
                  <c:v>4</c:v>
                </c:pt>
                <c:pt idx="53">
                  <c:v>10</c:v>
                </c:pt>
                <c:pt idx="54">
                  <c:v>5</c:v>
                </c:pt>
                <c:pt idx="55">
                  <c:v>2</c:v>
                </c:pt>
                <c:pt idx="56">
                  <c:v>7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2</c:v>
                </c:pt>
                <c:pt idx="62">
                  <c:v>3</c:v>
                </c:pt>
                <c:pt idx="63">
                  <c:v>8</c:v>
                </c:pt>
                <c:pt idx="64">
                  <c:v>5</c:v>
                </c:pt>
                <c:pt idx="65">
                  <c:v>6</c:v>
                </c:pt>
                <c:pt idx="66">
                  <c:v>5</c:v>
                </c:pt>
                <c:pt idx="67">
                  <c:v>4</c:v>
                </c:pt>
                <c:pt idx="68">
                  <c:v>3</c:v>
                </c:pt>
                <c:pt idx="69">
                  <c:v>2</c:v>
                </c:pt>
                <c:pt idx="70">
                  <c:v>1</c:v>
                </c:pt>
                <c:pt idx="71">
                  <c:v>7</c:v>
                </c:pt>
                <c:pt idx="72">
                  <c:v>7</c:v>
                </c:pt>
                <c:pt idx="73">
                  <c:v>12</c:v>
                </c:pt>
                <c:pt idx="74">
                  <c:v>13</c:v>
                </c:pt>
                <c:pt idx="75">
                  <c:v>9</c:v>
                </c:pt>
                <c:pt idx="76">
                  <c:v>3</c:v>
                </c:pt>
                <c:pt idx="77">
                  <c:v>7</c:v>
                </c:pt>
                <c:pt idx="78">
                  <c:v>12</c:v>
                </c:pt>
                <c:pt idx="79">
                  <c:v>2</c:v>
                </c:pt>
                <c:pt idx="80">
                  <c:v>7</c:v>
                </c:pt>
                <c:pt idx="81">
                  <c:v>5</c:v>
                </c:pt>
                <c:pt idx="82">
                  <c:v>4</c:v>
                </c:pt>
                <c:pt idx="83">
                  <c:v>5</c:v>
                </c:pt>
                <c:pt idx="84">
                  <c:v>9</c:v>
                </c:pt>
                <c:pt idx="85">
                  <c:v>10</c:v>
                </c:pt>
                <c:pt idx="86">
                  <c:v>8</c:v>
                </c:pt>
                <c:pt idx="87">
                  <c:v>17</c:v>
                </c:pt>
                <c:pt idx="88">
                  <c:v>11</c:v>
                </c:pt>
                <c:pt idx="89">
                  <c:v>5</c:v>
                </c:pt>
                <c:pt idx="90">
                  <c:v>9</c:v>
                </c:pt>
                <c:pt idx="91">
                  <c:v>17</c:v>
                </c:pt>
                <c:pt idx="92">
                  <c:v>19</c:v>
                </c:pt>
                <c:pt idx="93">
                  <c:v>16</c:v>
                </c:pt>
                <c:pt idx="94">
                  <c:v>14</c:v>
                </c:pt>
                <c:pt idx="95">
                  <c:v>15</c:v>
                </c:pt>
                <c:pt idx="96">
                  <c:v>10</c:v>
                </c:pt>
                <c:pt idx="97">
                  <c:v>10</c:v>
                </c:pt>
                <c:pt idx="98">
                  <c:v>18</c:v>
                </c:pt>
                <c:pt idx="99">
                  <c:v>19</c:v>
                </c:pt>
                <c:pt idx="100">
                  <c:v>24</c:v>
                </c:pt>
                <c:pt idx="101">
                  <c:v>37</c:v>
                </c:pt>
                <c:pt idx="102">
                  <c:v>21</c:v>
                </c:pt>
                <c:pt idx="103">
                  <c:v>14</c:v>
                </c:pt>
                <c:pt idx="104">
                  <c:v>15</c:v>
                </c:pt>
                <c:pt idx="105">
                  <c:v>20</c:v>
                </c:pt>
                <c:pt idx="106">
                  <c:v>29</c:v>
                </c:pt>
                <c:pt idx="107">
                  <c:v>26</c:v>
                </c:pt>
                <c:pt idx="108">
                  <c:v>29</c:v>
                </c:pt>
                <c:pt idx="109">
                  <c:v>26</c:v>
                </c:pt>
                <c:pt idx="110">
                  <c:v>14</c:v>
                </c:pt>
                <c:pt idx="111">
                  <c:v>10</c:v>
                </c:pt>
                <c:pt idx="112">
                  <c:v>40</c:v>
                </c:pt>
                <c:pt idx="113">
                  <c:v>60</c:v>
                </c:pt>
                <c:pt idx="114">
                  <c:v>48</c:v>
                </c:pt>
                <c:pt idx="115">
                  <c:v>47</c:v>
                </c:pt>
                <c:pt idx="116">
                  <c:v>37</c:v>
                </c:pt>
                <c:pt idx="117">
                  <c:v>24</c:v>
                </c:pt>
                <c:pt idx="118">
                  <c:v>30</c:v>
                </c:pt>
                <c:pt idx="119">
                  <c:v>91</c:v>
                </c:pt>
                <c:pt idx="120">
                  <c:v>101</c:v>
                </c:pt>
                <c:pt idx="121">
                  <c:v>88</c:v>
                </c:pt>
                <c:pt idx="122">
                  <c:v>120</c:v>
                </c:pt>
                <c:pt idx="123">
                  <c:v>106</c:v>
                </c:pt>
                <c:pt idx="124">
                  <c:v>77</c:v>
                </c:pt>
                <c:pt idx="125">
                  <c:v>46</c:v>
                </c:pt>
                <c:pt idx="126">
                  <c:v>174</c:v>
                </c:pt>
                <c:pt idx="127">
                  <c:v>176</c:v>
                </c:pt>
                <c:pt idx="128">
                  <c:v>164</c:v>
                </c:pt>
                <c:pt idx="129">
                  <c:v>98</c:v>
                </c:pt>
                <c:pt idx="130">
                  <c:v>202</c:v>
                </c:pt>
                <c:pt idx="131">
                  <c:v>139</c:v>
                </c:pt>
                <c:pt idx="132">
                  <c:v>97</c:v>
                </c:pt>
                <c:pt idx="133">
                  <c:v>303</c:v>
                </c:pt>
                <c:pt idx="134">
                  <c:v>270</c:v>
                </c:pt>
                <c:pt idx="135">
                  <c:v>263</c:v>
                </c:pt>
                <c:pt idx="136">
                  <c:v>244</c:v>
                </c:pt>
                <c:pt idx="137">
                  <c:v>283</c:v>
                </c:pt>
                <c:pt idx="138">
                  <c:v>160</c:v>
                </c:pt>
                <c:pt idx="139">
                  <c:v>86</c:v>
                </c:pt>
                <c:pt idx="140">
                  <c:v>317</c:v>
                </c:pt>
                <c:pt idx="141">
                  <c:v>339</c:v>
                </c:pt>
                <c:pt idx="142">
                  <c:v>363</c:v>
                </c:pt>
                <c:pt idx="143">
                  <c:v>267</c:v>
                </c:pt>
                <c:pt idx="144">
                  <c:v>377</c:v>
                </c:pt>
                <c:pt idx="145">
                  <c:v>240</c:v>
                </c:pt>
                <c:pt idx="146">
                  <c:v>130</c:v>
                </c:pt>
                <c:pt idx="147">
                  <c:v>388</c:v>
                </c:pt>
                <c:pt idx="148">
                  <c:v>486</c:v>
                </c:pt>
                <c:pt idx="149">
                  <c:v>308</c:v>
                </c:pt>
                <c:pt idx="150">
                  <c:v>390</c:v>
                </c:pt>
                <c:pt idx="151">
                  <c:v>577</c:v>
                </c:pt>
                <c:pt idx="152">
                  <c:v>330</c:v>
                </c:pt>
                <c:pt idx="153">
                  <c:v>205</c:v>
                </c:pt>
                <c:pt idx="154">
                  <c:v>457</c:v>
                </c:pt>
                <c:pt idx="155">
                  <c:v>546</c:v>
                </c:pt>
                <c:pt idx="156">
                  <c:v>367</c:v>
                </c:pt>
                <c:pt idx="157">
                  <c:v>550</c:v>
                </c:pt>
                <c:pt idx="158">
                  <c:v>396</c:v>
                </c:pt>
                <c:pt idx="159">
                  <c:v>260</c:v>
                </c:pt>
                <c:pt idx="160">
                  <c:v>203</c:v>
                </c:pt>
                <c:pt idx="161">
                  <c:v>477</c:v>
                </c:pt>
                <c:pt idx="162">
                  <c:v>416</c:v>
                </c:pt>
                <c:pt idx="163">
                  <c:v>407</c:v>
                </c:pt>
                <c:pt idx="164">
                  <c:v>329</c:v>
                </c:pt>
                <c:pt idx="165">
                  <c:v>358</c:v>
                </c:pt>
                <c:pt idx="166">
                  <c:v>210</c:v>
                </c:pt>
                <c:pt idx="167">
                  <c:v>149</c:v>
                </c:pt>
                <c:pt idx="168">
                  <c:v>413</c:v>
                </c:pt>
                <c:pt idx="169">
                  <c:v>365</c:v>
                </c:pt>
                <c:pt idx="170">
                  <c:v>291</c:v>
                </c:pt>
                <c:pt idx="171">
                  <c:v>275</c:v>
                </c:pt>
                <c:pt idx="172">
                  <c:v>246</c:v>
                </c:pt>
                <c:pt idx="173">
                  <c:v>173</c:v>
                </c:pt>
                <c:pt idx="174">
                  <c:v>134</c:v>
                </c:pt>
                <c:pt idx="175">
                  <c:v>255</c:v>
                </c:pt>
                <c:pt idx="176">
                  <c:v>325</c:v>
                </c:pt>
                <c:pt idx="177">
                  <c:v>209</c:v>
                </c:pt>
                <c:pt idx="178">
                  <c:v>173</c:v>
                </c:pt>
                <c:pt idx="179">
                  <c:v>203</c:v>
                </c:pt>
                <c:pt idx="180">
                  <c:v>130</c:v>
                </c:pt>
                <c:pt idx="181">
                  <c:v>92</c:v>
                </c:pt>
                <c:pt idx="182">
                  <c:v>224</c:v>
                </c:pt>
                <c:pt idx="183">
                  <c:v>213</c:v>
                </c:pt>
                <c:pt idx="184">
                  <c:v>119</c:v>
                </c:pt>
                <c:pt idx="185">
                  <c:v>162</c:v>
                </c:pt>
                <c:pt idx="186">
                  <c:v>48</c:v>
                </c:pt>
                <c:pt idx="187">
                  <c:v>44</c:v>
                </c:pt>
                <c:pt idx="188">
                  <c:v>49</c:v>
                </c:pt>
                <c:pt idx="189">
                  <c:v>172</c:v>
                </c:pt>
                <c:pt idx="190">
                  <c:v>221</c:v>
                </c:pt>
                <c:pt idx="191">
                  <c:v>150</c:v>
                </c:pt>
                <c:pt idx="192">
                  <c:v>139</c:v>
                </c:pt>
                <c:pt idx="193">
                  <c:v>151</c:v>
                </c:pt>
                <c:pt idx="194">
                  <c:v>33</c:v>
                </c:pt>
                <c:pt idx="195">
                  <c:v>90</c:v>
                </c:pt>
                <c:pt idx="196">
                  <c:v>242</c:v>
                </c:pt>
                <c:pt idx="197">
                  <c:v>209</c:v>
                </c:pt>
                <c:pt idx="198">
                  <c:v>163</c:v>
                </c:pt>
                <c:pt idx="199">
                  <c:v>163</c:v>
                </c:pt>
                <c:pt idx="200">
                  <c:v>164</c:v>
                </c:pt>
                <c:pt idx="201">
                  <c:v>90</c:v>
                </c:pt>
                <c:pt idx="202">
                  <c:v>75</c:v>
                </c:pt>
                <c:pt idx="203">
                  <c:v>193</c:v>
                </c:pt>
                <c:pt idx="204">
                  <c:v>274</c:v>
                </c:pt>
                <c:pt idx="205">
                  <c:v>310</c:v>
                </c:pt>
                <c:pt idx="206">
                  <c:v>239</c:v>
                </c:pt>
                <c:pt idx="207">
                  <c:v>283</c:v>
                </c:pt>
                <c:pt idx="208">
                  <c:v>212</c:v>
                </c:pt>
                <c:pt idx="209">
                  <c:v>187</c:v>
                </c:pt>
                <c:pt idx="210">
                  <c:v>584</c:v>
                </c:pt>
                <c:pt idx="211">
                  <c:v>626</c:v>
                </c:pt>
                <c:pt idx="212">
                  <c:v>741</c:v>
                </c:pt>
                <c:pt idx="213">
                  <c:v>713</c:v>
                </c:pt>
                <c:pt idx="214">
                  <c:v>680</c:v>
                </c:pt>
                <c:pt idx="215">
                  <c:v>414</c:v>
                </c:pt>
                <c:pt idx="216">
                  <c:v>443</c:v>
                </c:pt>
                <c:pt idx="217">
                  <c:v>990</c:v>
                </c:pt>
                <c:pt idx="218">
                  <c:v>914</c:v>
                </c:pt>
                <c:pt idx="219">
                  <c:v>1076</c:v>
                </c:pt>
                <c:pt idx="220">
                  <c:v>1661</c:v>
                </c:pt>
                <c:pt idx="221">
                  <c:v>1343</c:v>
                </c:pt>
                <c:pt idx="222">
                  <c:v>512</c:v>
                </c:pt>
                <c:pt idx="223">
                  <c:v>687</c:v>
                </c:pt>
                <c:pt idx="224">
                  <c:v>1365</c:v>
                </c:pt>
                <c:pt idx="225">
                  <c:v>1606</c:v>
                </c:pt>
                <c:pt idx="226">
                  <c:v>1262</c:v>
                </c:pt>
                <c:pt idx="227">
                  <c:v>1176</c:v>
                </c:pt>
                <c:pt idx="228">
                  <c:v>968</c:v>
                </c:pt>
                <c:pt idx="229">
                  <c:v>699</c:v>
                </c:pt>
                <c:pt idx="230">
                  <c:v>387</c:v>
                </c:pt>
                <c:pt idx="231">
                  <c:v>1360</c:v>
                </c:pt>
                <c:pt idx="232">
                  <c:v>1168</c:v>
                </c:pt>
                <c:pt idx="233">
                  <c:v>960</c:v>
                </c:pt>
                <c:pt idx="234">
                  <c:v>844</c:v>
                </c:pt>
                <c:pt idx="235">
                  <c:v>772</c:v>
                </c:pt>
                <c:pt idx="236">
                  <c:v>411</c:v>
                </c:pt>
                <c:pt idx="237">
                  <c:v>321</c:v>
                </c:pt>
                <c:pt idx="238">
                  <c:v>902</c:v>
                </c:pt>
                <c:pt idx="239">
                  <c:v>890</c:v>
                </c:pt>
                <c:pt idx="240">
                  <c:v>655</c:v>
                </c:pt>
                <c:pt idx="241">
                  <c:v>581</c:v>
                </c:pt>
                <c:pt idx="242">
                  <c:v>511</c:v>
                </c:pt>
                <c:pt idx="243">
                  <c:v>283</c:v>
                </c:pt>
                <c:pt idx="244">
                  <c:v>206</c:v>
                </c:pt>
                <c:pt idx="245">
                  <c:v>647</c:v>
                </c:pt>
                <c:pt idx="246">
                  <c:v>518</c:v>
                </c:pt>
                <c:pt idx="247">
                  <c:v>398</c:v>
                </c:pt>
                <c:pt idx="248">
                  <c:v>395</c:v>
                </c:pt>
                <c:pt idx="249">
                  <c:v>341</c:v>
                </c:pt>
                <c:pt idx="250">
                  <c:v>217</c:v>
                </c:pt>
                <c:pt idx="251">
                  <c:v>162</c:v>
                </c:pt>
                <c:pt idx="252">
                  <c:v>530</c:v>
                </c:pt>
                <c:pt idx="253">
                  <c:v>451</c:v>
                </c:pt>
                <c:pt idx="254">
                  <c:v>368</c:v>
                </c:pt>
                <c:pt idx="255">
                  <c:v>324</c:v>
                </c:pt>
                <c:pt idx="256">
                  <c:v>325</c:v>
                </c:pt>
                <c:pt idx="257">
                  <c:v>206</c:v>
                </c:pt>
                <c:pt idx="258">
                  <c:v>139</c:v>
                </c:pt>
                <c:pt idx="259">
                  <c:v>529</c:v>
                </c:pt>
                <c:pt idx="260">
                  <c:v>408</c:v>
                </c:pt>
                <c:pt idx="261">
                  <c:v>405</c:v>
                </c:pt>
                <c:pt idx="262">
                  <c:v>334</c:v>
                </c:pt>
                <c:pt idx="263">
                  <c:v>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05</c:f>
              <c:numCache>
                <c:formatCode>m/d/yyyy</c:formatCode>
                <c:ptCount val="4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  <c:pt idx="397">
                  <c:v>44625</c:v>
                </c:pt>
                <c:pt idx="398">
                  <c:v>44626</c:v>
                </c:pt>
                <c:pt idx="399">
                  <c:v>44627</c:v>
                </c:pt>
                <c:pt idx="400">
                  <c:v>44628</c:v>
                </c:pt>
                <c:pt idx="401">
                  <c:v>44629</c:v>
                </c:pt>
                <c:pt idx="402">
                  <c:v>44630</c:v>
                </c:pt>
                <c:pt idx="403">
                  <c:v>44631</c:v>
                </c:pt>
              </c:numCache>
            </c:numRef>
          </c:cat>
          <c:val>
            <c:numRef>
              <c:f>List1!$B$2:$B$405</c:f>
              <c:numCache>
                <c:formatCode>General</c:formatCode>
                <c:ptCount val="404"/>
                <c:pt idx="0">
                  <c:v>18.539652196123999</c:v>
                </c:pt>
                <c:pt idx="1">
                  <c:v>26.588452302808999</c:v>
                </c:pt>
                <c:pt idx="2">
                  <c:v>22.616095959256999</c:v>
                </c:pt>
                <c:pt idx="3">
                  <c:v>21.901191930252999</c:v>
                </c:pt>
                <c:pt idx="4">
                  <c:v>19.438399290075001</c:v>
                </c:pt>
                <c:pt idx="5">
                  <c:v>11.446789387554</c:v>
                </c:pt>
                <c:pt idx="6">
                  <c:v>5.1036465554630004</c:v>
                </c:pt>
                <c:pt idx="7">
                  <c:v>23.648997282515001</c:v>
                </c:pt>
                <c:pt idx="8">
                  <c:v>30.116537907554999</c:v>
                </c:pt>
                <c:pt idx="9">
                  <c:v>27.971903776651001</c:v>
                </c:pt>
                <c:pt idx="10">
                  <c:v>22.209430396098</c:v>
                </c:pt>
                <c:pt idx="11">
                  <c:v>26.970346568953001</c:v>
                </c:pt>
                <c:pt idx="12">
                  <c:v>11.192359349349999</c:v>
                </c:pt>
                <c:pt idx="13">
                  <c:v>7.4823696664729997</c:v>
                </c:pt>
                <c:pt idx="14">
                  <c:v>31.133250311331999</c:v>
                </c:pt>
                <c:pt idx="15">
                  <c:v>32.573289902280003</c:v>
                </c:pt>
                <c:pt idx="16">
                  <c:v>31.489984153426999</c:v>
                </c:pt>
                <c:pt idx="17">
                  <c:v>29.363339870171998</c:v>
                </c:pt>
                <c:pt idx="18">
                  <c:v>31.232162665718</c:v>
                </c:pt>
                <c:pt idx="19">
                  <c:v>15.679150514438</c:v>
                </c:pt>
                <c:pt idx="20">
                  <c:v>7.5955273194839998</c:v>
                </c:pt>
                <c:pt idx="21">
                  <c:v>40.583287468659002</c:v>
                </c:pt>
                <c:pt idx="22">
                  <c:v>46.545685725799999</c:v>
                </c:pt>
                <c:pt idx="23">
                  <c:v>38.213020218160999</c:v>
                </c:pt>
                <c:pt idx="24">
                  <c:v>47.778872300640998</c:v>
                </c:pt>
                <c:pt idx="25">
                  <c:v>58.219095863443002</c:v>
                </c:pt>
                <c:pt idx="26">
                  <c:v>20.452727130542002</c:v>
                </c:pt>
                <c:pt idx="27">
                  <c:v>9.6312437547399998</c:v>
                </c:pt>
                <c:pt idx="28">
                  <c:v>62.152676221116998</c:v>
                </c:pt>
                <c:pt idx="29">
                  <c:v>61.529752711923003</c:v>
                </c:pt>
                <c:pt idx="30">
                  <c:v>54.571274425295996</c:v>
                </c:pt>
                <c:pt idx="31">
                  <c:v>44.421086877634998</c:v>
                </c:pt>
                <c:pt idx="32">
                  <c:v>51.711525363871999</c:v>
                </c:pt>
                <c:pt idx="33">
                  <c:v>21.450427431310999</c:v>
                </c:pt>
                <c:pt idx="34">
                  <c:v>10.72981689883</c:v>
                </c:pt>
                <c:pt idx="35">
                  <c:v>49.508092668993001</c:v>
                </c:pt>
                <c:pt idx="36">
                  <c:v>53.676179278437999</c:v>
                </c:pt>
                <c:pt idx="37">
                  <c:v>48.176982964617999</c:v>
                </c:pt>
                <c:pt idx="38">
                  <c:v>46.505319045865001</c:v>
                </c:pt>
                <c:pt idx="39">
                  <c:v>54.609993628833998</c:v>
                </c:pt>
                <c:pt idx="40">
                  <c:v>22.106488254302</c:v>
                </c:pt>
                <c:pt idx="41">
                  <c:v>7.8032032149189998</c:v>
                </c:pt>
                <c:pt idx="42">
                  <c:v>36.542075589893003</c:v>
                </c:pt>
                <c:pt idx="43">
                  <c:v>53.061518607559996</c:v>
                </c:pt>
                <c:pt idx="44">
                  <c:v>33.555722237574003</c:v>
                </c:pt>
                <c:pt idx="45">
                  <c:v>35.667813761170002</c:v>
                </c:pt>
                <c:pt idx="46">
                  <c:v>29.896756534102</c:v>
                </c:pt>
                <c:pt idx="47">
                  <c:v>11.958861516382999</c:v>
                </c:pt>
                <c:pt idx="48">
                  <c:v>5.9799472435760004</c:v>
                </c:pt>
                <c:pt idx="49">
                  <c:v>45.422967990167002</c:v>
                </c:pt>
                <c:pt idx="50">
                  <c:v>32.222550414864997</c:v>
                </c:pt>
                <c:pt idx="51">
                  <c:v>25.652796154779999</c:v>
                </c:pt>
                <c:pt idx="52">
                  <c:v>27.912423070637999</c:v>
                </c:pt>
                <c:pt idx="53">
                  <c:v>23.369464358129999</c:v>
                </c:pt>
                <c:pt idx="54">
                  <c:v>11.008896564536</c:v>
                </c:pt>
                <c:pt idx="55">
                  <c:v>6.8902317184920001</c:v>
                </c:pt>
                <c:pt idx="56">
                  <c:v>31.299993044444999</c:v>
                </c:pt>
                <c:pt idx="57">
                  <c:v>33.002605099253003</c:v>
                </c:pt>
                <c:pt idx="58">
                  <c:v>24.140354863216</c:v>
                </c:pt>
                <c:pt idx="59">
                  <c:v>20.827498042933001</c:v>
                </c:pt>
                <c:pt idx="60">
                  <c:v>16.771427321383999</c:v>
                </c:pt>
                <c:pt idx="61">
                  <c:v>9.4924462033860006</c:v>
                </c:pt>
                <c:pt idx="62">
                  <c:v>14.616036715484</c:v>
                </c:pt>
                <c:pt idx="63">
                  <c:v>8.8718024545320002</c:v>
                </c:pt>
                <c:pt idx="64">
                  <c:v>26.936026936026</c:v>
                </c:pt>
                <c:pt idx="65">
                  <c:v>30.324395217842</c:v>
                </c:pt>
                <c:pt idx="66">
                  <c:v>24.603650566652</c:v>
                </c:pt>
                <c:pt idx="67">
                  <c:v>25.041670905490999</c:v>
                </c:pt>
                <c:pt idx="68">
                  <c:v>7.8448600476959998</c:v>
                </c:pt>
                <c:pt idx="69">
                  <c:v>3.926896887541</c:v>
                </c:pt>
                <c:pt idx="70">
                  <c:v>11.935263132767</c:v>
                </c:pt>
                <c:pt idx="71">
                  <c:v>19.359678629333999</c:v>
                </c:pt>
                <c:pt idx="72">
                  <c:v>21.284956447704001</c:v>
                </c:pt>
                <c:pt idx="73">
                  <c:v>16.673892019875002</c:v>
                </c:pt>
                <c:pt idx="74">
                  <c:v>15.933047656584</c:v>
                </c:pt>
                <c:pt idx="75">
                  <c:v>3.3668616640710001</c:v>
                </c:pt>
                <c:pt idx="76">
                  <c:v>3.3756128847140001</c:v>
                </c:pt>
                <c:pt idx="77">
                  <c:v>21.141291479212999</c:v>
                </c:pt>
                <c:pt idx="78">
                  <c:v>17.220892386643001</c:v>
                </c:pt>
                <c:pt idx="79">
                  <c:v>20.067006351642998</c:v>
                </c:pt>
                <c:pt idx="80">
                  <c:v>13.291627160997001</c:v>
                </c:pt>
                <c:pt idx="81">
                  <c:v>10.819095703917</c:v>
                </c:pt>
                <c:pt idx="82">
                  <c:v>4.5362171577870001</c:v>
                </c:pt>
                <c:pt idx="83">
                  <c:v>0.90990982793599995</c:v>
                </c:pt>
                <c:pt idx="84">
                  <c:v>11.027587347680999</c:v>
                </c:pt>
                <c:pt idx="85">
                  <c:v>14.871823471455</c:v>
                </c:pt>
                <c:pt idx="86">
                  <c:v>7.5251622613110003</c:v>
                </c:pt>
                <c:pt idx="87">
                  <c:v>16.167687450070002</c:v>
                </c:pt>
                <c:pt idx="88">
                  <c:v>10.602103071718</c:v>
                </c:pt>
                <c:pt idx="89">
                  <c:v>3.8632785713589999</c:v>
                </c:pt>
                <c:pt idx="90">
                  <c:v>4.8398025360560002</c:v>
                </c:pt>
                <c:pt idx="91">
                  <c:v>10.722397138093999</c:v>
                </c:pt>
                <c:pt idx="92">
                  <c:v>10.794049534874</c:v>
                </c:pt>
                <c:pt idx="93">
                  <c:v>8.8827477299640005</c:v>
                </c:pt>
                <c:pt idx="94">
                  <c:v>4.9667722933569998</c:v>
                </c:pt>
                <c:pt idx="95">
                  <c:v>16.985222856115001</c:v>
                </c:pt>
                <c:pt idx="96">
                  <c:v>8.0061647468549992</c:v>
                </c:pt>
                <c:pt idx="97">
                  <c:v>2.004791451569</c:v>
                </c:pt>
                <c:pt idx="98">
                  <c:v>9.0495917628600004</c:v>
                </c:pt>
                <c:pt idx="99">
                  <c:v>16.15345784957</c:v>
                </c:pt>
                <c:pt idx="100">
                  <c:v>5.0739786081059997</c:v>
                </c:pt>
                <c:pt idx="101">
                  <c:v>8.1541127306080003</c:v>
                </c:pt>
                <c:pt idx="102">
                  <c:v>6.1423174963909997</c:v>
                </c:pt>
                <c:pt idx="103">
                  <c:v>4.0977308815239999</c:v>
                </c:pt>
                <c:pt idx="104">
                  <c:v>1.025178381038</c:v>
                </c:pt>
                <c:pt idx="105">
                  <c:v>3.082835797889</c:v>
                </c:pt>
                <c:pt idx="106">
                  <c:v>7.2083946905019998</c:v>
                </c:pt>
                <c:pt idx="107">
                  <c:v>4.1300554459940004</c:v>
                </c:pt>
                <c:pt idx="108">
                  <c:v>4.1430598568569996</c:v>
                </c:pt>
                <c:pt idx="109">
                  <c:v>4.1594309898399997</c:v>
                </c:pt>
                <c:pt idx="110">
                  <c:v>1.0403120936279999</c:v>
                </c:pt>
                <c:pt idx="111">
                  <c:v>1.0414822375199999</c:v>
                </c:pt>
                <c:pt idx="112">
                  <c:v>1.043754175016</c:v>
                </c:pt>
                <c:pt idx="113">
                  <c:v>3.137779916116</c:v>
                </c:pt>
                <c:pt idx="114">
                  <c:v>7.3473843311779996</c:v>
                </c:pt>
                <c:pt idx="115">
                  <c:v>2.1066158270040001</c:v>
                </c:pt>
                <c:pt idx="116">
                  <c:v>4.2283745071299998</c:v>
                </c:pt>
                <c:pt idx="117">
                  <c:v>0</c:v>
                </c:pt>
                <c:pt idx="118">
                  <c:v>1.063026862688</c:v>
                </c:pt>
                <c:pt idx="119">
                  <c:v>4.2684878881649997</c:v>
                </c:pt>
                <c:pt idx="120">
                  <c:v>2.1506995150170001</c:v>
                </c:pt>
                <c:pt idx="121">
                  <c:v>0</c:v>
                </c:pt>
                <c:pt idx="122">
                  <c:v>4.3730662847520003</c:v>
                </c:pt>
                <c:pt idx="123">
                  <c:v>0</c:v>
                </c:pt>
                <c:pt idx="124">
                  <c:v>0</c:v>
                </c:pt>
                <c:pt idx="125">
                  <c:v>1.1065864022659999</c:v>
                </c:pt>
                <c:pt idx="126">
                  <c:v>0</c:v>
                </c:pt>
                <c:pt idx="127">
                  <c:v>1.122737683567</c:v>
                </c:pt>
                <c:pt idx="128">
                  <c:v>2.261113372224</c:v>
                </c:pt>
                <c:pt idx="129">
                  <c:v>1.1410575321200001</c:v>
                </c:pt>
                <c:pt idx="131">
                  <c:v>1.157019056103</c:v>
                </c:pt>
                <c:pt idx="132">
                  <c:v>1.1602408660029999</c:v>
                </c:pt>
                <c:pt idx="133">
                  <c:v>1.1675014301890001</c:v>
                </c:pt>
                <c:pt idx="135">
                  <c:v>0</c:v>
                </c:pt>
                <c:pt idx="136">
                  <c:v>2.3851547965459998</c:v>
                </c:pt>
                <c:pt idx="137">
                  <c:v>0</c:v>
                </c:pt>
                <c:pt idx="138">
                  <c:v>0</c:v>
                </c:pt>
                <c:pt idx="139">
                  <c:v>1.2088536440890001</c:v>
                </c:pt>
                <c:pt idx="141">
                  <c:v>1.2228825788140001</c:v>
                </c:pt>
                <c:pt idx="142">
                  <c:v>2.4611749649279999</c:v>
                </c:pt>
                <c:pt idx="143">
                  <c:v>2.478253327055</c:v>
                </c:pt>
                <c:pt idx="145">
                  <c:v>1.253824163699</c:v>
                </c:pt>
                <c:pt idx="146">
                  <c:v>1.255776572232</c:v>
                </c:pt>
                <c:pt idx="147">
                  <c:v>0</c:v>
                </c:pt>
                <c:pt idx="148">
                  <c:v>3.8136885996130001</c:v>
                </c:pt>
                <c:pt idx="150">
                  <c:v>1.2892412815050001</c:v>
                </c:pt>
                <c:pt idx="151">
                  <c:v>1.2991399693400001</c:v>
                </c:pt>
                <c:pt idx="153">
                  <c:v>1.3050570962470001</c:v>
                </c:pt>
                <c:pt idx="154">
                  <c:v>0</c:v>
                </c:pt>
                <c:pt idx="155">
                  <c:v>1.3213356060300001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53912808015</c:v>
                </c:pt>
                <c:pt idx="160">
                  <c:v>0</c:v>
                </c:pt>
                <c:pt idx="161">
                  <c:v>2.729108673107</c:v>
                </c:pt>
                <c:pt idx="162">
                  <c:v>4.1221248179390004</c:v>
                </c:pt>
                <c:pt idx="163">
                  <c:v>1.3842938025160001</c:v>
                </c:pt>
                <c:pt idx="164">
                  <c:v>4.1863775275249999</c:v>
                </c:pt>
                <c:pt idx="165">
                  <c:v>2.8121880228910001</c:v>
                </c:pt>
                <c:pt idx="166">
                  <c:v>1.4091453533430001</c:v>
                </c:pt>
                <c:pt idx="167">
                  <c:v>2.8221083971829999</c:v>
                </c:pt>
                <c:pt idx="168">
                  <c:v>2.8257368108729999</c:v>
                </c:pt>
                <c:pt idx="169">
                  <c:v>2.830135280466</c:v>
                </c:pt>
                <c:pt idx="170">
                  <c:v>5.6984927486670003</c:v>
                </c:pt>
                <c:pt idx="171">
                  <c:v>2.8663561447500001</c:v>
                </c:pt>
                <c:pt idx="172">
                  <c:v>1.4423562331419999</c:v>
                </c:pt>
                <c:pt idx="173">
                  <c:v>0</c:v>
                </c:pt>
                <c:pt idx="174">
                  <c:v>1.4481000926780001</c:v>
                </c:pt>
                <c:pt idx="175">
                  <c:v>4.3698654081450004</c:v>
                </c:pt>
                <c:pt idx="176">
                  <c:v>1.46464350577</c:v>
                </c:pt>
                <c:pt idx="177">
                  <c:v>0</c:v>
                </c:pt>
                <c:pt idx="178">
                  <c:v>5.9368321063879996</c:v>
                </c:pt>
                <c:pt idx="179">
                  <c:v>2.9888664723899998</c:v>
                </c:pt>
                <c:pt idx="180">
                  <c:v>1.497297378232</c:v>
                </c:pt>
                <c:pt idx="181">
                  <c:v>0</c:v>
                </c:pt>
                <c:pt idx="182">
                  <c:v>0</c:v>
                </c:pt>
                <c:pt idx="183">
                  <c:v>3.0446034404010001</c:v>
                </c:pt>
                <c:pt idx="184">
                  <c:v>7.6661249271710004</c:v>
                </c:pt>
                <c:pt idx="185">
                  <c:v>0</c:v>
                </c:pt>
                <c:pt idx="186">
                  <c:v>4.6627292508540004</c:v>
                </c:pt>
                <c:pt idx="187">
                  <c:v>1.5590894917360001</c:v>
                </c:pt>
                <c:pt idx="188">
                  <c:v>0</c:v>
                </c:pt>
                <c:pt idx="189">
                  <c:v>12.56340593935</c:v>
                </c:pt>
                <c:pt idx="190">
                  <c:v>1.5799285872269999</c:v>
                </c:pt>
                <c:pt idx="191">
                  <c:v>4.7695511852330004</c:v>
                </c:pt>
                <c:pt idx="192">
                  <c:v>3.1964710959099998</c:v>
                </c:pt>
                <c:pt idx="193">
                  <c:v>9.6422717192169998</c:v>
                </c:pt>
                <c:pt idx="194">
                  <c:v>4.8316959252689999</c:v>
                </c:pt>
                <c:pt idx="195">
                  <c:v>1.6135798883400001</c:v>
                </c:pt>
                <c:pt idx="196">
                  <c:v>4.8623942429250002</c:v>
                </c:pt>
                <c:pt idx="197">
                  <c:v>3.2577534532180001</c:v>
                </c:pt>
                <c:pt idx="198">
                  <c:v>4.9129587475229997</c:v>
                </c:pt>
                <c:pt idx="199">
                  <c:v>0</c:v>
                </c:pt>
                <c:pt idx="200">
                  <c:v>3.3118614317169999</c:v>
                </c:pt>
                <c:pt idx="201">
                  <c:v>0</c:v>
                </c:pt>
                <c:pt idx="202">
                  <c:v>0</c:v>
                </c:pt>
                <c:pt idx="203">
                  <c:v>3.3471122788810002</c:v>
                </c:pt>
                <c:pt idx="204">
                  <c:v>3.3645677371590001</c:v>
                </c:pt>
                <c:pt idx="205">
                  <c:v>3.3855268726190002</c:v>
                </c:pt>
                <c:pt idx="206">
                  <c:v>5.105687736138</c:v>
                </c:pt>
                <c:pt idx="207">
                  <c:v>1.712768690588</c:v>
                </c:pt>
                <c:pt idx="208">
                  <c:v>0</c:v>
                </c:pt>
                <c:pt idx="209">
                  <c:v>3.4360128506879999</c:v>
                </c:pt>
                <c:pt idx="210">
                  <c:v>0</c:v>
                </c:pt>
                <c:pt idx="211">
                  <c:v>1.735598868389</c:v>
                </c:pt>
                <c:pt idx="212">
                  <c:v>3.489731465163</c:v>
                </c:pt>
                <c:pt idx="213">
                  <c:v>14.031887464262001</c:v>
                </c:pt>
                <c:pt idx="214">
                  <c:v>7.0631445119359997</c:v>
                </c:pt>
                <c:pt idx="215">
                  <c:v>8.8392320475189994</c:v>
                </c:pt>
                <c:pt idx="216">
                  <c:v>1.7694417411300001</c:v>
                </c:pt>
                <c:pt idx="217">
                  <c:v>7.1135138980269996</c:v>
                </c:pt>
                <c:pt idx="218">
                  <c:v>8.9327187622820006</c:v>
                </c:pt>
                <c:pt idx="219">
                  <c:v>1.794043774668</c:v>
                </c:pt>
                <c:pt idx="220">
                  <c:v>5.4032635711969998</c:v>
                </c:pt>
                <c:pt idx="221">
                  <c:v>1.8087761820349999</c:v>
                </c:pt>
                <c:pt idx="222">
                  <c:v>1.810020272227</c:v>
                </c:pt>
                <c:pt idx="223">
                  <c:v>3.6224009273340001</c:v>
                </c:pt>
                <c:pt idx="224">
                  <c:v>3.6314117113019999</c:v>
                </c:pt>
                <c:pt idx="225">
                  <c:v>7.2827907654209998</c:v>
                </c:pt>
                <c:pt idx="226">
                  <c:v>5.4728546409799996</c:v>
                </c:pt>
                <c:pt idx="227">
                  <c:v>9.1417705781249996</c:v>
                </c:pt>
                <c:pt idx="228">
                  <c:v>12.827796001392</c:v>
                </c:pt>
                <c:pt idx="229">
                  <c:v>3.665756337176</c:v>
                </c:pt>
                <c:pt idx="230">
                  <c:v>9.1635510593060001</c:v>
                </c:pt>
                <c:pt idx="231">
                  <c:v>14.69129907812</c:v>
                </c:pt>
                <c:pt idx="232">
                  <c:v>14.713184852775999</c:v>
                </c:pt>
                <c:pt idx="233">
                  <c:v>12.893481424177001</c:v>
                </c:pt>
                <c:pt idx="234">
                  <c:v>9.2237308146389996</c:v>
                </c:pt>
                <c:pt idx="235">
                  <c:v>11.091598114428001</c:v>
                </c:pt>
                <c:pt idx="236">
                  <c:v>9.2428275658079997</c:v>
                </c:pt>
                <c:pt idx="237">
                  <c:v>9.2421441774489992</c:v>
                </c:pt>
                <c:pt idx="238">
                  <c:v>7.4023354368299996</c:v>
                </c:pt>
                <c:pt idx="239">
                  <c:v>12.974255370413999</c:v>
                </c:pt>
                <c:pt idx="240">
                  <c:v>22.271714922048002</c:v>
                </c:pt>
                <c:pt idx="241">
                  <c:v>35.318611049147997</c:v>
                </c:pt>
                <c:pt idx="242">
                  <c:v>29.805148839461999</c:v>
                </c:pt>
                <c:pt idx="243">
                  <c:v>13.044855667988999</c:v>
                </c:pt>
                <c:pt idx="244">
                  <c:v>9.3208806368020003</c:v>
                </c:pt>
                <c:pt idx="245">
                  <c:v>18.677973066362</c:v>
                </c:pt>
                <c:pt idx="246">
                  <c:v>26.189273621788999</c:v>
                </c:pt>
                <c:pt idx="247">
                  <c:v>20.605424846395</c:v>
                </c:pt>
                <c:pt idx="248">
                  <c:v>13.137398419758</c:v>
                </c:pt>
                <c:pt idx="249">
                  <c:v>16.931296561065</c:v>
                </c:pt>
                <c:pt idx="250">
                  <c:v>7.5284197846870002</c:v>
                </c:pt>
                <c:pt idx="251">
                  <c:v>9.4138911377620005</c:v>
                </c:pt>
                <c:pt idx="252">
                  <c:v>33.943051103149003</c:v>
                </c:pt>
                <c:pt idx="253">
                  <c:v>49.036249104145</c:v>
                </c:pt>
                <c:pt idx="254">
                  <c:v>30.23888720895</c:v>
                </c:pt>
                <c:pt idx="255">
                  <c:v>45.426154108227003</c:v>
                </c:pt>
                <c:pt idx="256">
                  <c:v>22.750109010938999</c:v>
                </c:pt>
                <c:pt idx="257">
                  <c:v>15.171916782036</c:v>
                </c:pt>
                <c:pt idx="258">
                  <c:v>22.763055560824</c:v>
                </c:pt>
                <c:pt idx="259">
                  <c:v>94.981193723641994</c:v>
                </c:pt>
                <c:pt idx="260">
                  <c:v>79.902594931891997</c:v>
                </c:pt>
                <c:pt idx="261">
                  <c:v>76.194830180772001</c:v>
                </c:pt>
                <c:pt idx="262">
                  <c:v>103.00036240868199</c:v>
                </c:pt>
                <c:pt idx="263">
                  <c:v>84.085002293227006</c:v>
                </c:pt>
                <c:pt idx="264">
                  <c:v>53.527050277192998</c:v>
                </c:pt>
                <c:pt idx="265">
                  <c:v>34.416167950899002</c:v>
                </c:pt>
                <c:pt idx="266">
                  <c:v>107.23449887020701</c:v>
                </c:pt>
                <c:pt idx="267">
                  <c:v>136.124851413014</c:v>
                </c:pt>
                <c:pt idx="268">
                  <c:v>143.951171762538</c:v>
                </c:pt>
                <c:pt idx="269">
                  <c:v>80.731969860063998</c:v>
                </c:pt>
                <c:pt idx="270">
                  <c:v>157.953538544515</c:v>
                </c:pt>
                <c:pt idx="271">
                  <c:v>121.40599707083901</c:v>
                </c:pt>
                <c:pt idx="272">
                  <c:v>61.679612960428003</c:v>
                </c:pt>
                <c:pt idx="273">
                  <c:v>202.63228993785901</c:v>
                </c:pt>
                <c:pt idx="274">
                  <c:v>225.95160387014499</c:v>
                </c:pt>
                <c:pt idx="275">
                  <c:v>212.72892533214701</c:v>
                </c:pt>
                <c:pt idx="276">
                  <c:v>174.384809145514</c:v>
                </c:pt>
                <c:pt idx="277">
                  <c:v>202.03590022534701</c:v>
                </c:pt>
                <c:pt idx="278">
                  <c:v>106.92068429237899</c:v>
                </c:pt>
                <c:pt idx="279">
                  <c:v>42.794063296308998</c:v>
                </c:pt>
                <c:pt idx="280">
                  <c:v>216.298374839237</c:v>
                </c:pt>
                <c:pt idx="281">
                  <c:v>224.70592832857801</c:v>
                </c:pt>
                <c:pt idx="282">
                  <c:v>246.96197569580499</c:v>
                </c:pt>
                <c:pt idx="283">
                  <c:v>202.040015692428</c:v>
                </c:pt>
                <c:pt idx="284">
                  <c:v>295.02586393407103</c:v>
                </c:pt>
                <c:pt idx="285">
                  <c:v>157.51132112620499</c:v>
                </c:pt>
                <c:pt idx="286">
                  <c:v>80.786585486000007</c:v>
                </c:pt>
                <c:pt idx="287">
                  <c:v>306.31200347812302</c:v>
                </c:pt>
                <c:pt idx="288">
                  <c:v>366.58344231759901</c:v>
                </c:pt>
                <c:pt idx="289">
                  <c:v>244.396757272293</c:v>
                </c:pt>
                <c:pt idx="290">
                  <c:v>293.05635852554701</c:v>
                </c:pt>
                <c:pt idx="291">
                  <c:v>534.58804685153598</c:v>
                </c:pt>
                <c:pt idx="292">
                  <c:v>264.60859977949201</c:v>
                </c:pt>
                <c:pt idx="293">
                  <c:v>140.43253219917301</c:v>
                </c:pt>
                <c:pt idx="294">
                  <c:v>334.07124169853</c:v>
                </c:pt>
                <c:pt idx="295">
                  <c:v>435.68590273715603</c:v>
                </c:pt>
                <c:pt idx="296">
                  <c:v>291.27391884784902</c:v>
                </c:pt>
                <c:pt idx="297">
                  <c:v>438.37395733971903</c:v>
                </c:pt>
                <c:pt idx="298">
                  <c:v>277.32463295269099</c:v>
                </c:pt>
                <c:pt idx="299">
                  <c:v>177.63439982032301</c:v>
                </c:pt>
                <c:pt idx="300">
                  <c:v>116.492949110974</c:v>
                </c:pt>
                <c:pt idx="301">
                  <c:v>359.17328571721703</c:v>
                </c:pt>
                <c:pt idx="302">
                  <c:v>346.484624744776</c:v>
                </c:pt>
                <c:pt idx="303">
                  <c:v>320.09582223323599</c:v>
                </c:pt>
                <c:pt idx="304">
                  <c:v>248.947160965085</c:v>
                </c:pt>
                <c:pt idx="305">
                  <c:v>263.080970476468</c:v>
                </c:pt>
                <c:pt idx="306">
                  <c:v>152.65579255541601</c:v>
                </c:pt>
                <c:pt idx="307">
                  <c:v>92.119587974205999</c:v>
                </c:pt>
                <c:pt idx="308">
                  <c:v>290.440712211137</c:v>
                </c:pt>
                <c:pt idx="309">
                  <c:v>289.775371208595</c:v>
                </c:pt>
                <c:pt idx="310">
                  <c:v>233.992767496277</c:v>
                </c:pt>
                <c:pt idx="311">
                  <c:v>205.49704597996401</c:v>
                </c:pt>
                <c:pt idx="312">
                  <c:v>196.22218388821801</c:v>
                </c:pt>
                <c:pt idx="313">
                  <c:v>129.58963282937299</c:v>
                </c:pt>
                <c:pt idx="314">
                  <c:v>84.320678024733994</c:v>
                </c:pt>
                <c:pt idx="315">
                  <c:v>204.090494593773</c:v>
                </c:pt>
                <c:pt idx="316">
                  <c:v>290.01940731372201</c:v>
                </c:pt>
                <c:pt idx="317">
                  <c:v>177.43702081051401</c:v>
                </c:pt>
                <c:pt idx="318">
                  <c:v>156.277513646768</c:v>
                </c:pt>
                <c:pt idx="319">
                  <c:v>166.068818918559</c:v>
                </c:pt>
                <c:pt idx="320">
                  <c:v>102.02949983364699</c:v>
                </c:pt>
                <c:pt idx="321">
                  <c:v>66.613375965892999</c:v>
                </c:pt>
                <c:pt idx="322">
                  <c:v>176.248800838855</c:v>
                </c:pt>
                <c:pt idx="323">
                  <c:v>177.14196022153899</c:v>
                </c:pt>
                <c:pt idx="324">
                  <c:v>105.665467625899</c:v>
                </c:pt>
                <c:pt idx="325">
                  <c:v>131.05271482477301</c:v>
                </c:pt>
                <c:pt idx="326">
                  <c:v>36.421579786023003</c:v>
                </c:pt>
                <c:pt idx="327">
                  <c:v>43.343370745504998</c:v>
                </c:pt>
                <c:pt idx="328">
                  <c:v>34.269265038495</c:v>
                </c:pt>
                <c:pt idx="329">
                  <c:v>96.398815671693001</c:v>
                </c:pt>
                <c:pt idx="330">
                  <c:v>186.825352892333</c:v>
                </c:pt>
                <c:pt idx="331">
                  <c:v>169.267512231316</c:v>
                </c:pt>
                <c:pt idx="332">
                  <c:v>100.300902708124</c:v>
                </c:pt>
                <c:pt idx="333">
                  <c:v>141.00726187398601</c:v>
                </c:pt>
                <c:pt idx="334">
                  <c:v>16.512160026419</c:v>
                </c:pt>
                <c:pt idx="335">
                  <c:v>49.657129344997998</c:v>
                </c:pt>
                <c:pt idx="336">
                  <c:v>114.2313184198</c:v>
                </c:pt>
                <c:pt idx="337">
                  <c:v>122.14983713354999</c:v>
                </c:pt>
                <c:pt idx="338">
                  <c:v>118.106440416505</c:v>
                </c:pt>
                <c:pt idx="339">
                  <c:v>130.64937578631501</c:v>
                </c:pt>
                <c:pt idx="340">
                  <c:v>87.266380626862997</c:v>
                </c:pt>
                <c:pt idx="341">
                  <c:v>51.004298933766997</c:v>
                </c:pt>
                <c:pt idx="342">
                  <c:v>34.069891949770998</c:v>
                </c:pt>
                <c:pt idx="343">
                  <c:v>105.173046349516</c:v>
                </c:pt>
                <c:pt idx="344">
                  <c:v>159.834755452824</c:v>
                </c:pt>
                <c:pt idx="345">
                  <c:v>133.46844954151101</c:v>
                </c:pt>
                <c:pt idx="346">
                  <c:v>138.947472892836</c:v>
                </c:pt>
                <c:pt idx="347">
                  <c:v>189.073539655687</c:v>
                </c:pt>
                <c:pt idx="348">
                  <c:v>122.145777245986</c:v>
                </c:pt>
                <c:pt idx="349">
                  <c:v>102.42574133753</c:v>
                </c:pt>
                <c:pt idx="350">
                  <c:v>268.77668927405102</c:v>
                </c:pt>
                <c:pt idx="351">
                  <c:v>348.38807401984201</c:v>
                </c:pt>
                <c:pt idx="352">
                  <c:v>403.32809091370302</c:v>
                </c:pt>
                <c:pt idx="353">
                  <c:v>420.67154475690199</c:v>
                </c:pt>
                <c:pt idx="354">
                  <c:v>361.90965092402399</c:v>
                </c:pt>
                <c:pt idx="355">
                  <c:v>226.52971915463201</c:v>
                </c:pt>
                <c:pt idx="356">
                  <c:v>214.11619027963999</c:v>
                </c:pt>
                <c:pt idx="357">
                  <c:v>461.17573904707598</c:v>
                </c:pt>
                <c:pt idx="358">
                  <c:v>457.82066956272899</c:v>
                </c:pt>
                <c:pt idx="359">
                  <c:v>585.16196447230902</c:v>
                </c:pt>
                <c:pt idx="360">
                  <c:v>1148.46085269285</c:v>
                </c:pt>
                <c:pt idx="361">
                  <c:v>821.42010899612899</c:v>
                </c:pt>
                <c:pt idx="362">
                  <c:v>311.41959832150098</c:v>
                </c:pt>
                <c:pt idx="363">
                  <c:v>333.24517323459401</c:v>
                </c:pt>
                <c:pt idx="364">
                  <c:v>793.229691728126</c:v>
                </c:pt>
                <c:pt idx="365">
                  <c:v>972.369819341126</c:v>
                </c:pt>
                <c:pt idx="366">
                  <c:v>816.90215800537499</c:v>
                </c:pt>
                <c:pt idx="367">
                  <c:v>799.48832747041797</c:v>
                </c:pt>
                <c:pt idx="368">
                  <c:v>667.34290747957903</c:v>
                </c:pt>
                <c:pt idx="369">
                  <c:v>389.90519428495099</c:v>
                </c:pt>
                <c:pt idx="370">
                  <c:v>154.968338365351</c:v>
                </c:pt>
                <c:pt idx="371">
                  <c:v>714.32393386484</c:v>
                </c:pt>
                <c:pt idx="372">
                  <c:v>806.38679776033405</c:v>
                </c:pt>
                <c:pt idx="373">
                  <c:v>625.52014819189696</c:v>
                </c:pt>
                <c:pt idx="374">
                  <c:v>548.63781835785096</c:v>
                </c:pt>
                <c:pt idx="375">
                  <c:v>493.52750809061399</c:v>
                </c:pt>
                <c:pt idx="376">
                  <c:v>183.506044905008</c:v>
                </c:pt>
                <c:pt idx="377">
                  <c:v>99.908192471782002</c:v>
                </c:pt>
                <c:pt idx="378">
                  <c:v>467.934326904871</c:v>
                </c:pt>
                <c:pt idx="379">
                  <c:v>647.48591244039801</c:v>
                </c:pt>
                <c:pt idx="380">
                  <c:v>447.98001737619398</c:v>
                </c:pt>
                <c:pt idx="381">
                  <c:v>331.71103075124302</c:v>
                </c:pt>
                <c:pt idx="382">
                  <c:v>310.70289716824198</c:v>
                </c:pt>
                <c:pt idx="383">
                  <c:v>144.55202509204901</c:v>
                </c:pt>
                <c:pt idx="384">
                  <c:v>90.055670778299003</c:v>
                </c:pt>
                <c:pt idx="385">
                  <c:v>344.44110330499399</c:v>
                </c:pt>
                <c:pt idx="386">
                  <c:v>358.71737999397499</c:v>
                </c:pt>
                <c:pt idx="387">
                  <c:v>211.12664857009599</c:v>
                </c:pt>
                <c:pt idx="388">
                  <c:v>222.39305914008</c:v>
                </c:pt>
                <c:pt idx="389">
                  <c:v>211.86440677966101</c:v>
                </c:pt>
                <c:pt idx="390">
                  <c:v>101.863832833191</c:v>
                </c:pt>
                <c:pt idx="391">
                  <c:v>57.846458970333003</c:v>
                </c:pt>
                <c:pt idx="392">
                  <c:v>275.74036287431699</c:v>
                </c:pt>
                <c:pt idx="393">
                  <c:v>309.19581481379203</c:v>
                </c:pt>
                <c:pt idx="394">
                  <c:v>218.346646029684</c:v>
                </c:pt>
                <c:pt idx="395">
                  <c:v>179.87104629603999</c:v>
                </c:pt>
                <c:pt idx="396">
                  <c:v>163.51190311226799</c:v>
                </c:pt>
                <c:pt idx="397">
                  <c:v>80.401452771077004</c:v>
                </c:pt>
                <c:pt idx="398">
                  <c:v>69.330818935633005</c:v>
                </c:pt>
                <c:pt idx="399">
                  <c:v>288.64834859838999</c:v>
                </c:pt>
                <c:pt idx="400">
                  <c:v>213.85918622413499</c:v>
                </c:pt>
                <c:pt idx="401">
                  <c:v>186.193863939528</c:v>
                </c:pt>
                <c:pt idx="402">
                  <c:v>150.187734668335</c:v>
                </c:pt>
                <c:pt idx="403">
                  <c:v>144.778238717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05</c:f>
              <c:numCache>
                <c:formatCode>m/d/yyyy</c:formatCode>
                <c:ptCount val="4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  <c:pt idx="397">
                  <c:v>44625</c:v>
                </c:pt>
                <c:pt idx="398">
                  <c:v>44626</c:v>
                </c:pt>
                <c:pt idx="399">
                  <c:v>44627</c:v>
                </c:pt>
                <c:pt idx="400">
                  <c:v>44628</c:v>
                </c:pt>
                <c:pt idx="401">
                  <c:v>44629</c:v>
                </c:pt>
                <c:pt idx="402">
                  <c:v>44630</c:v>
                </c:pt>
                <c:pt idx="403">
                  <c:v>44631</c:v>
                </c:pt>
              </c:numCache>
            </c:numRef>
          </c:cat>
          <c:val>
            <c:numRef>
              <c:f>List1!$C$2:$C$405</c:f>
              <c:numCache>
                <c:formatCode>General</c:formatCode>
                <c:ptCount val="40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50106275099998</c:v>
                </c:pt>
                <c:pt idx="9">
                  <c:v>0.81753113771700003</c:v>
                </c:pt>
                <c:pt idx="10">
                  <c:v>1.2263368093160001</c:v>
                </c:pt>
                <c:pt idx="11">
                  <c:v>2.4527638560709999</c:v>
                </c:pt>
                <c:pt idx="12">
                  <c:v>0.40880734545000003</c:v>
                </c:pt>
                <c:pt idx="13">
                  <c:v>0</c:v>
                </c:pt>
                <c:pt idx="14">
                  <c:v>1.2265072752320001</c:v>
                </c:pt>
                <c:pt idx="15">
                  <c:v>2.4530947834929999</c:v>
                </c:pt>
                <c:pt idx="16">
                  <c:v>0.81772835064100002</c:v>
                </c:pt>
                <c:pt idx="17">
                  <c:v>4.0887754935149996</c:v>
                </c:pt>
                <c:pt idx="18">
                  <c:v>2.8622364697989999</c:v>
                </c:pt>
                <c:pt idx="19">
                  <c:v>1.6356238882859999</c:v>
                </c:pt>
                <c:pt idx="20">
                  <c:v>0.40891934883600001</c:v>
                </c:pt>
                <c:pt idx="21">
                  <c:v>3.6804095886930002</c:v>
                </c:pt>
                <c:pt idx="22">
                  <c:v>5.7252688831630003</c:v>
                </c:pt>
                <c:pt idx="23">
                  <c:v>5.7254796111579997</c:v>
                </c:pt>
                <c:pt idx="24">
                  <c:v>4.0897620985380003</c:v>
                </c:pt>
                <c:pt idx="25">
                  <c:v>8.5887814155120008</c:v>
                </c:pt>
                <c:pt idx="26">
                  <c:v>3.6810418166350001</c:v>
                </c:pt>
                <c:pt idx="27">
                  <c:v>4.4991983246620002</c:v>
                </c:pt>
                <c:pt idx="28">
                  <c:v>8.1798252789320003</c:v>
                </c:pt>
                <c:pt idx="29">
                  <c:v>4.9075940928920003</c:v>
                </c:pt>
                <c:pt idx="30">
                  <c:v>7.7698488968849997</c:v>
                </c:pt>
                <c:pt idx="31">
                  <c:v>4.4978921241899998</c:v>
                </c:pt>
                <c:pt idx="32">
                  <c:v>6.5417198181399998</c:v>
                </c:pt>
                <c:pt idx="33">
                  <c:v>3.6793563579269999</c:v>
                </c:pt>
                <c:pt idx="34">
                  <c:v>1.6351090617740001</c:v>
                </c:pt>
                <c:pt idx="35">
                  <c:v>5.7223203191409997</c:v>
                </c:pt>
                <c:pt idx="36">
                  <c:v>6.9478218578469999</c:v>
                </c:pt>
                <c:pt idx="37">
                  <c:v>2.4519319180229999</c:v>
                </c:pt>
                <c:pt idx="38">
                  <c:v>6.129228657004</c:v>
                </c:pt>
                <c:pt idx="39">
                  <c:v>6.5372028126309996</c:v>
                </c:pt>
                <c:pt idx="40">
                  <c:v>2.8597458094510002</c:v>
                </c:pt>
                <c:pt idx="41">
                  <c:v>3.267947157294</c:v>
                </c:pt>
                <c:pt idx="42">
                  <c:v>8.5775203613989994</c:v>
                </c:pt>
                <c:pt idx="43">
                  <c:v>4.4925464570139999</c:v>
                </c:pt>
                <c:pt idx="44">
                  <c:v>3.2669862868249999</c:v>
                </c:pt>
                <c:pt idx="45">
                  <c:v>5.3083107730119998</c:v>
                </c:pt>
                <c:pt idx="46">
                  <c:v>6.1243737827800002</c:v>
                </c:pt>
                <c:pt idx="47">
                  <c:v>1.224754742862</c:v>
                </c:pt>
                <c:pt idx="48">
                  <c:v>1.632846336913</c:v>
                </c:pt>
                <c:pt idx="49">
                  <c:v>5.714402334741</c:v>
                </c:pt>
                <c:pt idx="50">
                  <c:v>5.7138192800579999</c:v>
                </c:pt>
                <c:pt idx="51">
                  <c:v>6.5294396108450004</c:v>
                </c:pt>
                <c:pt idx="52">
                  <c:v>4.080500106093</c:v>
                </c:pt>
                <c:pt idx="53">
                  <c:v>3.2640804269410002</c:v>
                </c:pt>
                <c:pt idx="54">
                  <c:v>3.2637475164919998</c:v>
                </c:pt>
                <c:pt idx="55">
                  <c:v>1.6317139931710001</c:v>
                </c:pt>
                <c:pt idx="56">
                  <c:v>4.07888564844</c:v>
                </c:pt>
                <c:pt idx="57">
                  <c:v>2.447091835278</c:v>
                </c:pt>
                <c:pt idx="58">
                  <c:v>4.893684699894</c:v>
                </c:pt>
                <c:pt idx="59">
                  <c:v>2.0386611704359998</c:v>
                </c:pt>
                <c:pt idx="60">
                  <c:v>1.222967326389</c:v>
                </c:pt>
                <c:pt idx="61">
                  <c:v>3.6682141095810001</c:v>
                </c:pt>
                <c:pt idx="62">
                  <c:v>0.40750460480200001</c:v>
                </c:pt>
                <c:pt idx="63">
                  <c:v>1.222284694551</c:v>
                </c:pt>
                <c:pt idx="64">
                  <c:v>3.666166981685</c:v>
                </c:pt>
                <c:pt idx="65">
                  <c:v>2.8509406067610001</c:v>
                </c:pt>
                <c:pt idx="66">
                  <c:v>4.0720094144849996</c:v>
                </c:pt>
                <c:pt idx="67">
                  <c:v>2.0356234096689998</c:v>
                </c:pt>
                <c:pt idx="68">
                  <c:v>2.035242254885</c:v>
                </c:pt>
                <c:pt idx="69">
                  <c:v>0.813947809666</c:v>
                </c:pt>
                <c:pt idx="70">
                  <c:v>3.6620795729200002</c:v>
                </c:pt>
                <c:pt idx="71">
                  <c:v>2.0341079216289999</c:v>
                </c:pt>
                <c:pt idx="72">
                  <c:v>2.0337356062360001</c:v>
                </c:pt>
                <c:pt idx="73">
                  <c:v>2.4400261896140001</c:v>
                </c:pt>
                <c:pt idx="74">
                  <c:v>2.0329748521009998</c:v>
                </c:pt>
                <c:pt idx="75">
                  <c:v>2.439113626108</c:v>
                </c:pt>
                <c:pt idx="76">
                  <c:v>1.62577834138</c:v>
                </c:pt>
                <c:pt idx="77">
                  <c:v>2.8445802618629998</c:v>
                </c:pt>
                <c:pt idx="78">
                  <c:v>2.8440486251050001</c:v>
                </c:pt>
                <c:pt idx="79">
                  <c:v>4.8746206935769996</c:v>
                </c:pt>
                <c:pt idx="80">
                  <c:v>1.6245699966289999</c:v>
                </c:pt>
                <c:pt idx="81">
                  <c:v>2.0303331776740001</c:v>
                </c:pt>
                <c:pt idx="82">
                  <c:v>0.40599080024799999</c:v>
                </c:pt>
                <c:pt idx="83">
                  <c:v>0.40591664095800001</c:v>
                </c:pt>
                <c:pt idx="84">
                  <c:v>2.8408860317690001</c:v>
                </c:pt>
                <c:pt idx="85">
                  <c:v>2.8403557748489998</c:v>
                </c:pt>
                <c:pt idx="86">
                  <c:v>1.217073101467</c:v>
                </c:pt>
                <c:pt idx="87">
                  <c:v>4.0561533874959999</c:v>
                </c:pt>
                <c:pt idx="88">
                  <c:v>2.4332380315100002</c:v>
                </c:pt>
                <c:pt idx="89">
                  <c:v>0.810974101542</c:v>
                </c:pt>
                <c:pt idx="90">
                  <c:v>1.6220337058600001</c:v>
                </c:pt>
                <c:pt idx="91">
                  <c:v>2.8387201427469999</c:v>
                </c:pt>
                <c:pt idx="92">
                  <c:v>4.4610811227319997</c:v>
                </c:pt>
                <c:pt idx="93">
                  <c:v>3.2446068550430001</c:v>
                </c:pt>
                <c:pt idx="94">
                  <c:v>1.2167917258159999</c:v>
                </c:pt>
                <c:pt idx="95">
                  <c:v>1.622481098095</c:v>
                </c:pt>
                <c:pt idx="96">
                  <c:v>0</c:v>
                </c:pt>
                <c:pt idx="97">
                  <c:v>0</c:v>
                </c:pt>
                <c:pt idx="98">
                  <c:v>2.0284304816300001</c:v>
                </c:pt>
                <c:pt idx="99">
                  <c:v>1.2171224790349999</c:v>
                </c:pt>
                <c:pt idx="100">
                  <c:v>2.434383228722</c:v>
                </c:pt>
                <c:pt idx="101">
                  <c:v>2.4345116369649999</c:v>
                </c:pt>
                <c:pt idx="102">
                  <c:v>0.81154997930499995</c:v>
                </c:pt>
                <c:pt idx="103">
                  <c:v>0.81159279143200003</c:v>
                </c:pt>
                <c:pt idx="104">
                  <c:v>0.40581945092600002</c:v>
                </c:pt>
                <c:pt idx="105">
                  <c:v>3.24672689345</c:v>
                </c:pt>
                <c:pt idx="106">
                  <c:v>1.2175917658319999</c:v>
                </c:pt>
                <c:pt idx="107">
                  <c:v>1.2176560121760001</c:v>
                </c:pt>
                <c:pt idx="108">
                  <c:v>1.6236336108389999</c:v>
                </c:pt>
                <c:pt idx="109">
                  <c:v>0.40592982285200002</c:v>
                </c:pt>
                <c:pt idx="110">
                  <c:v>0.40595124525499998</c:v>
                </c:pt>
                <c:pt idx="111">
                  <c:v>0</c:v>
                </c:pt>
                <c:pt idx="112">
                  <c:v>1.2179872354929999</c:v>
                </c:pt>
                <c:pt idx="113">
                  <c:v>0.81203764606499995</c:v>
                </c:pt>
                <c:pt idx="114">
                  <c:v>0.81208050966099998</c:v>
                </c:pt>
                <c:pt idx="115">
                  <c:v>1.2181900132779999</c:v>
                </c:pt>
                <c:pt idx="116">
                  <c:v>1.6243390970289999</c:v>
                </c:pt>
                <c:pt idx="117">
                  <c:v>0.406107862248</c:v>
                </c:pt>
                <c:pt idx="118">
                  <c:v>0</c:v>
                </c:pt>
                <c:pt idx="119">
                  <c:v>0.81230149382200001</c:v>
                </c:pt>
                <c:pt idx="120">
                  <c:v>0</c:v>
                </c:pt>
                <c:pt idx="121">
                  <c:v>0</c:v>
                </c:pt>
                <c:pt idx="122">
                  <c:v>1.21852647654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849056899999</c:v>
                </c:pt>
                <c:pt idx="127">
                  <c:v>0.40621509089000002</c:v>
                </c:pt>
                <c:pt idx="128">
                  <c:v>0</c:v>
                </c:pt>
                <c:pt idx="129">
                  <c:v>0</c:v>
                </c:pt>
                <c:pt idx="131">
                  <c:v>0.40624809571199999</c:v>
                </c:pt>
                <c:pt idx="132">
                  <c:v>0.40625634775500002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4216218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6865777</c:v>
                </c:pt>
                <c:pt idx="148">
                  <c:v>0</c:v>
                </c:pt>
                <c:pt idx="150">
                  <c:v>0.40637521436200003</c:v>
                </c:pt>
                <c:pt idx="151">
                  <c:v>0.81269758709999995</c:v>
                </c:pt>
                <c:pt idx="153">
                  <c:v>0.40629761300099998</c:v>
                </c:pt>
                <c:pt idx="154">
                  <c:v>0.81254240455600002</c:v>
                </c:pt>
                <c:pt idx="155">
                  <c:v>0</c:v>
                </c:pt>
                <c:pt idx="156">
                  <c:v>0.40622004127099998</c:v>
                </c:pt>
                <c:pt idx="157">
                  <c:v>1.624774562529</c:v>
                </c:pt>
                <c:pt idx="158">
                  <c:v>0.40616724342400001</c:v>
                </c:pt>
                <c:pt idx="159">
                  <c:v>0</c:v>
                </c:pt>
                <c:pt idx="160">
                  <c:v>0.40611610859500002</c:v>
                </c:pt>
                <c:pt idx="161">
                  <c:v>1.6243588858519999</c:v>
                </c:pt>
                <c:pt idx="162">
                  <c:v>0.40606498664000001</c:v>
                </c:pt>
                <c:pt idx="163">
                  <c:v>1.6241544246020001</c:v>
                </c:pt>
                <c:pt idx="164">
                  <c:v>0.406012229088</c:v>
                </c:pt>
                <c:pt idx="165">
                  <c:v>2.029937518523</c:v>
                </c:pt>
                <c:pt idx="166">
                  <c:v>0</c:v>
                </c:pt>
                <c:pt idx="167">
                  <c:v>0.40593476628300001</c:v>
                </c:pt>
                <c:pt idx="168">
                  <c:v>2.0295502516639998</c:v>
                </c:pt>
                <c:pt idx="169">
                  <c:v>2.029418449849</c:v>
                </c:pt>
                <c:pt idx="170">
                  <c:v>0.81171466605999998</c:v>
                </c:pt>
                <c:pt idx="171">
                  <c:v>2.0291631325399999</c:v>
                </c:pt>
                <c:pt idx="172">
                  <c:v>1.217418828599</c:v>
                </c:pt>
                <c:pt idx="173">
                  <c:v>0.405779929313</c:v>
                </c:pt>
                <c:pt idx="174">
                  <c:v>0</c:v>
                </c:pt>
                <c:pt idx="175">
                  <c:v>2.0286444597709998</c:v>
                </c:pt>
                <c:pt idx="176">
                  <c:v>0.81140511022899997</c:v>
                </c:pt>
                <c:pt idx="177">
                  <c:v>0.81135573486500001</c:v>
                </c:pt>
                <c:pt idx="178">
                  <c:v>0.405651537216</c:v>
                </c:pt>
                <c:pt idx="179">
                  <c:v>0.81125042083599996</c:v>
                </c:pt>
                <c:pt idx="180">
                  <c:v>0.405598887036</c:v>
                </c:pt>
                <c:pt idx="181">
                  <c:v>0.40561698399399998</c:v>
                </c:pt>
                <c:pt idx="182">
                  <c:v>0.81127016513399997</c:v>
                </c:pt>
                <c:pt idx="183">
                  <c:v>1.622606148866</c:v>
                </c:pt>
                <c:pt idx="184">
                  <c:v>1.6226785554909999</c:v>
                </c:pt>
                <c:pt idx="185">
                  <c:v>1.2170582889779999</c:v>
                </c:pt>
                <c:pt idx="186">
                  <c:v>0.81140840213400001</c:v>
                </c:pt>
                <c:pt idx="187">
                  <c:v>0</c:v>
                </c:pt>
                <c:pt idx="188">
                  <c:v>0.811477538301</c:v>
                </c:pt>
                <c:pt idx="189">
                  <c:v>1.217265696641</c:v>
                </c:pt>
                <c:pt idx="190">
                  <c:v>0.81154668625100002</c:v>
                </c:pt>
                <c:pt idx="191">
                  <c:v>1.6231658226200001</c:v>
                </c:pt>
                <c:pt idx="192">
                  <c:v>0.81161584598699998</c:v>
                </c:pt>
                <c:pt idx="193">
                  <c:v>1.2174781158300001</c:v>
                </c:pt>
                <c:pt idx="194">
                  <c:v>0.40584250875599998</c:v>
                </c:pt>
                <c:pt idx="195">
                  <c:v>0.40586062746000001</c:v>
                </c:pt>
                <c:pt idx="196">
                  <c:v>1.2176313012410001</c:v>
                </c:pt>
                <c:pt idx="197">
                  <c:v>0.40589522220699997</c:v>
                </c:pt>
                <c:pt idx="198">
                  <c:v>0</c:v>
                </c:pt>
                <c:pt idx="199">
                  <c:v>1.217789468556</c:v>
                </c:pt>
                <c:pt idx="200">
                  <c:v>0.40594630142299998</c:v>
                </c:pt>
                <c:pt idx="201">
                  <c:v>0.40596442939600003</c:v>
                </c:pt>
                <c:pt idx="202">
                  <c:v>0.81196511797799997</c:v>
                </c:pt>
                <c:pt idx="203">
                  <c:v>1.624002760804</c:v>
                </c:pt>
                <c:pt idx="204">
                  <c:v>1.2180564690969999</c:v>
                </c:pt>
                <c:pt idx="205">
                  <c:v>1.6241412353210001</c:v>
                </c:pt>
                <c:pt idx="206">
                  <c:v>0.40605344475400001</c:v>
                </c:pt>
                <c:pt idx="207">
                  <c:v>1.218209800091</c:v>
                </c:pt>
                <c:pt idx="208">
                  <c:v>0.40608807238099998</c:v>
                </c:pt>
                <c:pt idx="209">
                  <c:v>0</c:v>
                </c:pt>
                <c:pt idx="210">
                  <c:v>0.40612270591400002</c:v>
                </c:pt>
                <c:pt idx="211">
                  <c:v>2.4368352008960001</c:v>
                </c:pt>
                <c:pt idx="212">
                  <c:v>2.0305145730029999</c:v>
                </c:pt>
                <c:pt idx="213">
                  <c:v>1.6242665421389999</c:v>
                </c:pt>
                <c:pt idx="214">
                  <c:v>3.2482429036039999</c:v>
                </c:pt>
                <c:pt idx="215">
                  <c:v>1.623976387383</c:v>
                </c:pt>
                <c:pt idx="216">
                  <c:v>0.81191567443799995</c:v>
                </c:pt>
                <c:pt idx="217">
                  <c:v>1.2177647522049999</c:v>
                </c:pt>
                <c:pt idx="218">
                  <c:v>2.8411858297879999</c:v>
                </c:pt>
                <c:pt idx="219">
                  <c:v>0.40584745006</c:v>
                </c:pt>
                <c:pt idx="220">
                  <c:v>1.6232514538239999</c:v>
                </c:pt>
                <c:pt idx="221">
                  <c:v>1.623106544771</c:v>
                </c:pt>
                <c:pt idx="222">
                  <c:v>1.2172212461909999</c:v>
                </c:pt>
                <c:pt idx="223">
                  <c:v>1.217112603201</c:v>
                </c:pt>
                <c:pt idx="224">
                  <c:v>2.839664432797</c:v>
                </c:pt>
                <c:pt idx="225">
                  <c:v>2.4337808785939998</c:v>
                </c:pt>
                <c:pt idx="226">
                  <c:v>2.0279779842710002</c:v>
                </c:pt>
                <c:pt idx="227">
                  <c:v>4.4611534920690001</c:v>
                </c:pt>
                <c:pt idx="228">
                  <c:v>1.216579546053</c:v>
                </c:pt>
                <c:pt idx="229">
                  <c:v>1.216471017578</c:v>
                </c:pt>
                <c:pt idx="230">
                  <c:v>1.621810102255</c:v>
                </c:pt>
                <c:pt idx="231">
                  <c:v>3.2466214845170001</c:v>
                </c:pt>
                <c:pt idx="232">
                  <c:v>4.062629496315</c:v>
                </c:pt>
                <c:pt idx="233">
                  <c:v>3.2532756419109998</c:v>
                </c:pt>
                <c:pt idx="234">
                  <c:v>3.2579789941800001</c:v>
                </c:pt>
                <c:pt idx="235">
                  <c:v>2.8537765656020002</c:v>
                </c:pt>
                <c:pt idx="236">
                  <c:v>1.6308890383870001</c:v>
                </c:pt>
                <c:pt idx="237">
                  <c:v>1.631075245578</c:v>
                </c:pt>
                <c:pt idx="238">
                  <c:v>4.9025816177700001</c:v>
                </c:pt>
                <c:pt idx="239">
                  <c:v>4.085684985516</c:v>
                </c:pt>
                <c:pt idx="240">
                  <c:v>4.0979743712680001</c:v>
                </c:pt>
                <c:pt idx="241">
                  <c:v>7.398547418523</c:v>
                </c:pt>
                <c:pt idx="242">
                  <c:v>1.65367156429</c:v>
                </c:pt>
                <c:pt idx="243">
                  <c:v>2.8946552258859999</c:v>
                </c:pt>
                <c:pt idx="244">
                  <c:v>4.1359742907830004</c:v>
                </c:pt>
                <c:pt idx="245">
                  <c:v>4.1531516191059996</c:v>
                </c:pt>
                <c:pt idx="246">
                  <c:v>5.0069471391549998</c:v>
                </c:pt>
                <c:pt idx="247">
                  <c:v>5.4564991101700002</c:v>
                </c:pt>
                <c:pt idx="248">
                  <c:v>8.0170467731380004</c:v>
                </c:pt>
                <c:pt idx="249">
                  <c:v>6.8223876651230002</c:v>
                </c:pt>
                <c:pt idx="250">
                  <c:v>2.5609943487389999</c:v>
                </c:pt>
                <c:pt idx="251">
                  <c:v>2.1350550417180001</c:v>
                </c:pt>
                <c:pt idx="252">
                  <c:v>9.4425463972389991</c:v>
                </c:pt>
                <c:pt idx="253">
                  <c:v>14.246490182873</c:v>
                </c:pt>
                <c:pt idx="254">
                  <c:v>13.900412234099999</c:v>
                </c:pt>
                <c:pt idx="255">
                  <c:v>10.062518867222</c:v>
                </c:pt>
                <c:pt idx="256">
                  <c:v>11.044402917489</c:v>
                </c:pt>
                <c:pt idx="257">
                  <c:v>6.1939776839830003</c:v>
                </c:pt>
                <c:pt idx="258">
                  <c:v>7.0840029929909996</c:v>
                </c:pt>
                <c:pt idx="259">
                  <c:v>17.81967381087</c:v>
                </c:pt>
                <c:pt idx="260">
                  <c:v>25.113909518170999</c:v>
                </c:pt>
                <c:pt idx="261">
                  <c:v>19.898607549712001</c:v>
                </c:pt>
                <c:pt idx="262">
                  <c:v>29.239231739186</c:v>
                </c:pt>
                <c:pt idx="263">
                  <c:v>25.47947743908</c:v>
                </c:pt>
                <c:pt idx="264">
                  <c:v>20.427112349116999</c:v>
                </c:pt>
                <c:pt idx="265">
                  <c:v>12.086108877246</c:v>
                </c:pt>
                <c:pt idx="266">
                  <c:v>50.182909670762001</c:v>
                </c:pt>
                <c:pt idx="267">
                  <c:v>45.928465231677997</c:v>
                </c:pt>
                <c:pt idx="268">
                  <c:v>37.477837624865998</c:v>
                </c:pt>
                <c:pt idx="269">
                  <c:v>24.067504536724002</c:v>
                </c:pt>
                <c:pt idx="270">
                  <c:v>50.086557351539</c:v>
                </c:pt>
                <c:pt idx="271">
                  <c:v>33.122260107160002</c:v>
                </c:pt>
                <c:pt idx="272">
                  <c:v>28.295857584021</c:v>
                </c:pt>
                <c:pt idx="273">
                  <c:v>85.092568910224003</c:v>
                </c:pt>
                <c:pt idx="274">
                  <c:v>70.019317386143996</c:v>
                </c:pt>
                <c:pt idx="275">
                  <c:v>66.300007534090994</c:v>
                </c:pt>
                <c:pt idx="276">
                  <c:v>70.342127798392994</c:v>
                </c:pt>
                <c:pt idx="277">
                  <c:v>84.183832546923995</c:v>
                </c:pt>
                <c:pt idx="278">
                  <c:v>47.943634961332002</c:v>
                </c:pt>
                <c:pt idx="279">
                  <c:v>29.229845760366999</c:v>
                </c:pt>
                <c:pt idx="280">
                  <c:v>95.317338276493999</c:v>
                </c:pt>
                <c:pt idx="281">
                  <c:v>101.567111399445</c:v>
                </c:pt>
                <c:pt idx="282">
                  <c:v>108.123228204562</c:v>
                </c:pt>
                <c:pt idx="283">
                  <c:v>73.986225505663</c:v>
                </c:pt>
                <c:pt idx="284">
                  <c:v>103.098497865971</c:v>
                </c:pt>
                <c:pt idx="285">
                  <c:v>77.769136762580999</c:v>
                </c:pt>
                <c:pt idx="286">
                  <c:v>43.389015903743001</c:v>
                </c:pt>
                <c:pt idx="287">
                  <c:v>105.474579504269</c:v>
                </c:pt>
                <c:pt idx="288">
                  <c:v>137.61572231194401</c:v>
                </c:pt>
                <c:pt idx="289">
                  <c:v>90.603969479567994</c:v>
                </c:pt>
                <c:pt idx="290">
                  <c:v>120.369517139697</c:v>
                </c:pt>
                <c:pt idx="291">
                  <c:v>144.02894630530599</c:v>
                </c:pt>
                <c:pt idx="292">
                  <c:v>94.546266009736001</c:v>
                </c:pt>
                <c:pt idx="293">
                  <c:v>65.270696985198995</c:v>
                </c:pt>
                <c:pt idx="294">
                  <c:v>142.39351634855501</c:v>
                </c:pt>
                <c:pt idx="295">
                  <c:v>161.35998272428401</c:v>
                </c:pt>
                <c:pt idx="296">
                  <c:v>112.771697941613</c:v>
                </c:pt>
                <c:pt idx="297">
                  <c:v>163.19719251747</c:v>
                </c:pt>
                <c:pt idx="298">
                  <c:v>128.433239775461</c:v>
                </c:pt>
                <c:pt idx="299">
                  <c:v>88.007694386994004</c:v>
                </c:pt>
                <c:pt idx="300">
                  <c:v>71.864893999280994</c:v>
                </c:pt>
                <c:pt idx="301">
                  <c:v>151.58946007401099</c:v>
                </c:pt>
                <c:pt idx="302">
                  <c:v>121.732857566115</c:v>
                </c:pt>
                <c:pt idx="303">
                  <c:v>123.08293445345301</c:v>
                </c:pt>
                <c:pt idx="304">
                  <c:v>98.351133348294994</c:v>
                </c:pt>
                <c:pt idx="305">
                  <c:v>121.06291890137</c:v>
                </c:pt>
                <c:pt idx="306">
                  <c:v>71.284063598962007</c:v>
                </c:pt>
                <c:pt idx="307">
                  <c:v>51.722847206624998</c:v>
                </c:pt>
                <c:pt idx="308">
                  <c:v>140.994250185699</c:v>
                </c:pt>
                <c:pt idx="309">
                  <c:v>121.099921354648</c:v>
                </c:pt>
                <c:pt idx="310">
                  <c:v>97.325660121867998</c:v>
                </c:pt>
                <c:pt idx="311">
                  <c:v>90.792107520732003</c:v>
                </c:pt>
                <c:pt idx="312">
                  <c:v>85.498191384413005</c:v>
                </c:pt>
                <c:pt idx="313">
                  <c:v>65.343641476325004</c:v>
                </c:pt>
                <c:pt idx="314">
                  <c:v>56.698108344929999</c:v>
                </c:pt>
                <c:pt idx="315">
                  <c:v>79.562776517827004</c:v>
                </c:pt>
                <c:pt idx="316">
                  <c:v>105.191184978698</c:v>
                </c:pt>
                <c:pt idx="317">
                  <c:v>60.037238287038001</c:v>
                </c:pt>
                <c:pt idx="318">
                  <c:v>55.456709106452998</c:v>
                </c:pt>
                <c:pt idx="319">
                  <c:v>61.965158324900997</c:v>
                </c:pt>
                <c:pt idx="320">
                  <c:v>44.871996725130998</c:v>
                </c:pt>
                <c:pt idx="321">
                  <c:v>32.363992295791</c:v>
                </c:pt>
                <c:pt idx="322">
                  <c:v>80.538411240290998</c:v>
                </c:pt>
                <c:pt idx="323">
                  <c:v>76.519721951494006</c:v>
                </c:pt>
                <c:pt idx="324">
                  <c:v>39.818622113148997</c:v>
                </c:pt>
                <c:pt idx="325">
                  <c:v>62.803311447330003</c:v>
                </c:pt>
                <c:pt idx="326">
                  <c:v>20.394511429084002</c:v>
                </c:pt>
                <c:pt idx="327">
                  <c:v>13.870304493978001</c:v>
                </c:pt>
                <c:pt idx="328">
                  <c:v>19.587359623922001</c:v>
                </c:pt>
                <c:pt idx="329">
                  <c:v>70.731827677528003</c:v>
                </c:pt>
                <c:pt idx="330">
                  <c:v>78.798284685759995</c:v>
                </c:pt>
                <c:pt idx="331">
                  <c:v>33.485973562822998</c:v>
                </c:pt>
                <c:pt idx="332">
                  <c:v>59.900952509512003</c:v>
                </c:pt>
                <c:pt idx="333">
                  <c:v>48.178106853968998</c:v>
                </c:pt>
                <c:pt idx="334">
                  <c:v>14.379483015292999</c:v>
                </c:pt>
                <c:pt idx="335">
                  <c:v>29.666045092388</c:v>
                </c:pt>
                <c:pt idx="336">
                  <c:v>93.239694447532997</c:v>
                </c:pt>
                <c:pt idx="337">
                  <c:v>76.134446511224994</c:v>
                </c:pt>
                <c:pt idx="338">
                  <c:v>54.278835631428997</c:v>
                </c:pt>
                <c:pt idx="339">
                  <c:v>48.825957654577998</c:v>
                </c:pt>
                <c:pt idx="340">
                  <c:v>57.246706042706997</c:v>
                </c:pt>
                <c:pt idx="341">
                  <c:v>33.769908273627003</c:v>
                </c:pt>
                <c:pt idx="342">
                  <c:v>21.048393000950998</c:v>
                </c:pt>
                <c:pt idx="343">
                  <c:v>54.511521333407003</c:v>
                </c:pt>
                <c:pt idx="344">
                  <c:v>92.426618866232999</c:v>
                </c:pt>
                <c:pt idx="345">
                  <c:v>113.37332892437</c:v>
                </c:pt>
                <c:pt idx="346">
                  <c:v>87.90788782189</c:v>
                </c:pt>
                <c:pt idx="347">
                  <c:v>87.389670540942006</c:v>
                </c:pt>
                <c:pt idx="348">
                  <c:v>82.849233888260002</c:v>
                </c:pt>
                <c:pt idx="349">
                  <c:v>55.685270757417001</c:v>
                </c:pt>
                <c:pt idx="350">
                  <c:v>191.86681491247899</c:v>
                </c:pt>
                <c:pt idx="351">
                  <c:v>214.111536250272</c:v>
                </c:pt>
                <c:pt idx="352">
                  <c:v>251.78346621905101</c:v>
                </c:pt>
                <c:pt idx="353">
                  <c:v>244.74256707759201</c:v>
                </c:pt>
                <c:pt idx="354">
                  <c:v>200.48645953124799</c:v>
                </c:pt>
                <c:pt idx="355">
                  <c:v>139.70610729836901</c:v>
                </c:pt>
                <c:pt idx="356">
                  <c:v>156.275535218172</c:v>
                </c:pt>
                <c:pt idx="357">
                  <c:v>298.29866897076602</c:v>
                </c:pt>
                <c:pt idx="358">
                  <c:v>278.35840973529997</c:v>
                </c:pt>
                <c:pt idx="359">
                  <c:v>333.48270579530401</c:v>
                </c:pt>
                <c:pt idx="360">
                  <c:v>589.76000335806395</c:v>
                </c:pt>
                <c:pt idx="361">
                  <c:v>428.638119085006</c:v>
                </c:pt>
                <c:pt idx="362">
                  <c:v>160.56997022543499</c:v>
                </c:pt>
                <c:pt idx="363">
                  <c:v>217.25008253373201</c:v>
                </c:pt>
                <c:pt idx="364">
                  <c:v>401.65374234180098</c:v>
                </c:pt>
                <c:pt idx="365">
                  <c:v>498.94082604815202</c:v>
                </c:pt>
                <c:pt idx="366">
                  <c:v>373.47667929579097</c:v>
                </c:pt>
                <c:pt idx="367">
                  <c:v>366.16941293726302</c:v>
                </c:pt>
                <c:pt idx="368">
                  <c:v>293.07940381765798</c:v>
                </c:pt>
                <c:pt idx="369">
                  <c:v>208.26745466638999</c:v>
                </c:pt>
                <c:pt idx="370">
                  <c:v>127.64007680223401</c:v>
                </c:pt>
                <c:pt idx="371">
                  <c:v>390.377255330781</c:v>
                </c:pt>
                <c:pt idx="372">
                  <c:v>331.26748203806198</c:v>
                </c:pt>
                <c:pt idx="373">
                  <c:v>280.52496672203802</c:v>
                </c:pt>
                <c:pt idx="374">
                  <c:v>244.94929990841899</c:v>
                </c:pt>
                <c:pt idx="375">
                  <c:v>243.97005822012699</c:v>
                </c:pt>
                <c:pt idx="376">
                  <c:v>130.930717677866</c:v>
                </c:pt>
                <c:pt idx="377">
                  <c:v>114.35042298554499</c:v>
                </c:pt>
                <c:pt idx="378">
                  <c:v>255.950857435372</c:v>
                </c:pt>
                <c:pt idx="379">
                  <c:v>225.210158984993</c:v>
                </c:pt>
                <c:pt idx="380">
                  <c:v>160.875879789967</c:v>
                </c:pt>
                <c:pt idx="381">
                  <c:v>190.399390721949</c:v>
                </c:pt>
                <c:pt idx="382">
                  <c:v>145.026925541602</c:v>
                </c:pt>
                <c:pt idx="383">
                  <c:v>82.114735658041994</c:v>
                </c:pt>
                <c:pt idx="384">
                  <c:v>48.384192996669</c:v>
                </c:pt>
                <c:pt idx="385">
                  <c:v>181.44116122343101</c:v>
                </c:pt>
                <c:pt idx="386">
                  <c:v>132.05417607223399</c:v>
                </c:pt>
                <c:pt idx="387">
                  <c:v>99.492362830556999</c:v>
                </c:pt>
                <c:pt idx="388">
                  <c:v>115.545385547764</c:v>
                </c:pt>
                <c:pt idx="389">
                  <c:v>92.056961665662001</c:v>
                </c:pt>
                <c:pt idx="390">
                  <c:v>64.809550881182005</c:v>
                </c:pt>
                <c:pt idx="391">
                  <c:v>46.630651123116003</c:v>
                </c:pt>
                <c:pt idx="392">
                  <c:v>163.95682470282799</c:v>
                </c:pt>
                <c:pt idx="393">
                  <c:v>118.53878155810099</c:v>
                </c:pt>
                <c:pt idx="394">
                  <c:v>101.552961581031</c:v>
                </c:pt>
                <c:pt idx="395">
                  <c:v>101.666647627968</c:v>
                </c:pt>
                <c:pt idx="396">
                  <c:v>101.85280552980601</c:v>
                </c:pt>
                <c:pt idx="397">
                  <c:v>68.678174076277998</c:v>
                </c:pt>
                <c:pt idx="398">
                  <c:v>26.329948599361</c:v>
                </c:pt>
                <c:pt idx="399">
                  <c:v>124.873980386765</c:v>
                </c:pt>
                <c:pt idx="400">
                  <c:v>102.02210096749</c:v>
                </c:pt>
                <c:pt idx="401">
                  <c:v>102.097003625017</c:v>
                </c:pt>
                <c:pt idx="402">
                  <c:v>105.626930274744</c:v>
                </c:pt>
                <c:pt idx="403">
                  <c:v>96.608356622846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05</c:f>
              <c:numCache>
                <c:formatCode>m/d/yyyy</c:formatCode>
                <c:ptCount val="4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  <c:pt idx="397">
                  <c:v>44625</c:v>
                </c:pt>
                <c:pt idx="398">
                  <c:v>44626</c:v>
                </c:pt>
                <c:pt idx="399">
                  <c:v>44627</c:v>
                </c:pt>
                <c:pt idx="400">
                  <c:v>44628</c:v>
                </c:pt>
                <c:pt idx="401">
                  <c:v>44629</c:v>
                </c:pt>
                <c:pt idx="402">
                  <c:v>44630</c:v>
                </c:pt>
                <c:pt idx="403">
                  <c:v>44631</c:v>
                </c:pt>
              </c:numCache>
            </c:numRef>
          </c:cat>
          <c:val>
            <c:numRef>
              <c:f>List1!$D$2:$D$405</c:f>
              <c:numCache>
                <c:formatCode>General</c:formatCode>
                <c:ptCount val="40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56172925038001</c:v>
                </c:pt>
                <c:pt idx="247">
                  <c:v>11.586142973004</c:v>
                </c:pt>
                <c:pt idx="248">
                  <c:v>0</c:v>
                </c:pt>
                <c:pt idx="249">
                  <c:v>0</c:v>
                </c:pt>
                <c:pt idx="250">
                  <c:v>7.9491255961840004</c:v>
                </c:pt>
                <c:pt idx="251">
                  <c:v>0</c:v>
                </c:pt>
                <c:pt idx="252">
                  <c:v>0</c:v>
                </c:pt>
                <c:pt idx="253">
                  <c:v>6.5728933876689997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67679292439998</c:v>
                </c:pt>
                <c:pt idx="258">
                  <c:v>0</c:v>
                </c:pt>
                <c:pt idx="259">
                  <c:v>4.4744731307879997</c:v>
                </c:pt>
                <c:pt idx="260">
                  <c:v>8.3924300281139992</c:v>
                </c:pt>
                <c:pt idx="261">
                  <c:v>11.678150181011</c:v>
                </c:pt>
                <c:pt idx="262">
                  <c:v>0</c:v>
                </c:pt>
                <c:pt idx="263">
                  <c:v>6.4639151934320003</c:v>
                </c:pt>
                <c:pt idx="264">
                  <c:v>6.3702382469099996</c:v>
                </c:pt>
                <c:pt idx="265">
                  <c:v>0</c:v>
                </c:pt>
                <c:pt idx="266">
                  <c:v>17.875230888398001</c:v>
                </c:pt>
                <c:pt idx="267">
                  <c:v>11.241323103729</c:v>
                </c:pt>
                <c:pt idx="268">
                  <c:v>15.522727860709001</c:v>
                </c:pt>
                <c:pt idx="269">
                  <c:v>7.6879708882160003</c:v>
                </c:pt>
                <c:pt idx="270">
                  <c:v>26.749671708573999</c:v>
                </c:pt>
                <c:pt idx="271">
                  <c:v>14.471430983333001</c:v>
                </c:pt>
                <c:pt idx="272">
                  <c:v>9.5739588319770004</c:v>
                </c:pt>
                <c:pt idx="273">
                  <c:v>29.92564627886</c:v>
                </c:pt>
                <c:pt idx="274">
                  <c:v>15.429377534825999</c:v>
                </c:pt>
                <c:pt idx="275">
                  <c:v>18.892480792644001</c:v>
                </c:pt>
                <c:pt idx="276">
                  <c:v>13.850141469302001</c:v>
                </c:pt>
                <c:pt idx="277">
                  <c:v>27.633978740259</c:v>
                </c:pt>
                <c:pt idx="278">
                  <c:v>21.891019209368999</c:v>
                </c:pt>
                <c:pt idx="279">
                  <c:v>7.2574207126779999</c:v>
                </c:pt>
                <c:pt idx="280">
                  <c:v>29.929050544883999</c:v>
                </c:pt>
                <c:pt idx="281">
                  <c:v>46.049938600080999</c:v>
                </c:pt>
                <c:pt idx="282">
                  <c:v>27.970647273684001</c:v>
                </c:pt>
                <c:pt idx="283">
                  <c:v>30.230227044915001</c:v>
                </c:pt>
                <c:pt idx="284">
                  <c:v>46.791746539674001</c:v>
                </c:pt>
                <c:pt idx="285">
                  <c:v>18.009094592768999</c:v>
                </c:pt>
                <c:pt idx="286">
                  <c:v>11.962437944853001</c:v>
                </c:pt>
                <c:pt idx="287">
                  <c:v>54.097521748665002</c:v>
                </c:pt>
                <c:pt idx="288">
                  <c:v>55.102646339911999</c:v>
                </c:pt>
                <c:pt idx="289">
                  <c:v>26.710903672046001</c:v>
                </c:pt>
                <c:pt idx="290">
                  <c:v>30.144832216604001</c:v>
                </c:pt>
                <c:pt idx="291">
                  <c:v>54.085428594042</c:v>
                </c:pt>
                <c:pt idx="292">
                  <c:v>20.967107849561</c:v>
                </c:pt>
                <c:pt idx="293">
                  <c:v>19.600669036168998</c:v>
                </c:pt>
                <c:pt idx="294">
                  <c:v>43.570751211009998</c:v>
                </c:pt>
                <c:pt idx="295">
                  <c:v>57.597195267012999</c:v>
                </c:pt>
                <c:pt idx="296">
                  <c:v>31.851035158641999</c:v>
                </c:pt>
                <c:pt idx="297">
                  <c:v>55.047628165238002</c:v>
                </c:pt>
                <c:pt idx="298">
                  <c:v>40.260890570899001</c:v>
                </c:pt>
                <c:pt idx="299">
                  <c:v>28.583188511844</c:v>
                </c:pt>
                <c:pt idx="300">
                  <c:v>26.165502491409999</c:v>
                </c:pt>
                <c:pt idx="301">
                  <c:v>50.266973481378002</c:v>
                </c:pt>
                <c:pt idx="302">
                  <c:v>40.543946350496</c:v>
                </c:pt>
                <c:pt idx="303">
                  <c:v>50.571348641028997</c:v>
                </c:pt>
                <c:pt idx="304">
                  <c:v>44.220301329766997</c:v>
                </c:pt>
                <c:pt idx="305">
                  <c:v>45.637093829864</c:v>
                </c:pt>
                <c:pt idx="306">
                  <c:v>22.189274511583001</c:v>
                </c:pt>
                <c:pt idx="307">
                  <c:v>24.122542515980999</c:v>
                </c:pt>
                <c:pt idx="308">
                  <c:v>51.476484156132003</c:v>
                </c:pt>
                <c:pt idx="309">
                  <c:v>41.863816032867</c:v>
                </c:pt>
                <c:pt idx="310">
                  <c:v>30.595951773130999</c:v>
                </c:pt>
                <c:pt idx="311">
                  <c:v>36.624876743202996</c:v>
                </c:pt>
                <c:pt idx="312">
                  <c:v>25.569842197545</c:v>
                </c:pt>
                <c:pt idx="313">
                  <c:v>15.43630255153</c:v>
                </c:pt>
                <c:pt idx="314">
                  <c:v>9.0489548457150004</c:v>
                </c:pt>
                <c:pt idx="315">
                  <c:v>39.350361307862002</c:v>
                </c:pt>
                <c:pt idx="316">
                  <c:v>37.987879216212001</c:v>
                </c:pt>
                <c:pt idx="317">
                  <c:v>34.878448606604998</c:v>
                </c:pt>
                <c:pt idx="318">
                  <c:v>16.319799352360999</c:v>
                </c:pt>
                <c:pt idx="319">
                  <c:v>32.000808441476003</c:v>
                </c:pt>
                <c:pt idx="320">
                  <c:v>15.101431280097</c:v>
                </c:pt>
                <c:pt idx="321">
                  <c:v>14.223322902895999</c:v>
                </c:pt>
                <c:pt idx="322">
                  <c:v>26.493575307987001</c:v>
                </c:pt>
                <c:pt idx="323">
                  <c:v>29.502634749186001</c:v>
                </c:pt>
                <c:pt idx="324">
                  <c:v>17.8716490658</c:v>
                </c:pt>
                <c:pt idx="325">
                  <c:v>18.617903947805001</c:v>
                </c:pt>
                <c:pt idx="326">
                  <c:v>5.665997539338</c:v>
                </c:pt>
                <c:pt idx="327">
                  <c:v>5.6659058164570002</c:v>
                </c:pt>
                <c:pt idx="328">
                  <c:v>7.2835569655079997</c:v>
                </c:pt>
                <c:pt idx="329">
                  <c:v>28.114256337756</c:v>
                </c:pt>
                <c:pt idx="330">
                  <c:v>29.481836798113001</c:v>
                </c:pt>
                <c:pt idx="331">
                  <c:v>27.647658243346001</c:v>
                </c:pt>
                <c:pt idx="332">
                  <c:v>15.686151481164</c:v>
                </c:pt>
                <c:pt idx="333">
                  <c:v>25.057946501284</c:v>
                </c:pt>
                <c:pt idx="334">
                  <c:v>5.4810824354790002</c:v>
                </c:pt>
                <c:pt idx="335">
                  <c:v>25.805846197156001</c:v>
                </c:pt>
                <c:pt idx="336">
                  <c:v>61.299233371612999</c:v>
                </c:pt>
                <c:pt idx="337">
                  <c:v>52.261059362414997</c:v>
                </c:pt>
                <c:pt idx="338">
                  <c:v>37.291566778540997</c:v>
                </c:pt>
                <c:pt idx="339">
                  <c:v>39.127457693436</c:v>
                </c:pt>
                <c:pt idx="340">
                  <c:v>45.046375612925999</c:v>
                </c:pt>
                <c:pt idx="341">
                  <c:v>23.560247971609002</c:v>
                </c:pt>
                <c:pt idx="342">
                  <c:v>27.198482765718001</c:v>
                </c:pt>
                <c:pt idx="343">
                  <c:v>62.045607171012001</c:v>
                </c:pt>
                <c:pt idx="344">
                  <c:v>76.789336424224004</c:v>
                </c:pt>
                <c:pt idx="345">
                  <c:v>91.935530209440003</c:v>
                </c:pt>
                <c:pt idx="346">
                  <c:v>64.129970072679995</c:v>
                </c:pt>
                <c:pt idx="347">
                  <c:v>80.321285140561997</c:v>
                </c:pt>
                <c:pt idx="348">
                  <c:v>53.430069880906998</c:v>
                </c:pt>
                <c:pt idx="349">
                  <c:v>58.989178294791003</c:v>
                </c:pt>
                <c:pt idx="350">
                  <c:v>188.74783289525101</c:v>
                </c:pt>
                <c:pt idx="351">
                  <c:v>182.29764613382801</c:v>
                </c:pt>
                <c:pt idx="352">
                  <c:v>220.854478361107</c:v>
                </c:pt>
                <c:pt idx="353">
                  <c:v>206.67135121729399</c:v>
                </c:pt>
                <c:pt idx="354">
                  <c:v>228.599587973197</c:v>
                </c:pt>
                <c:pt idx="355">
                  <c:v>125.14874235772</c:v>
                </c:pt>
                <c:pt idx="356">
                  <c:v>138.74934213673899</c:v>
                </c:pt>
                <c:pt idx="357">
                  <c:v>349.86454660549703</c:v>
                </c:pt>
                <c:pt idx="358">
                  <c:v>312.042112118087</c:v>
                </c:pt>
                <c:pt idx="359">
                  <c:v>354.00860700315502</c:v>
                </c:pt>
                <c:pt idx="360">
                  <c:v>431.34774299480398</c:v>
                </c:pt>
                <c:pt idx="361">
                  <c:v>409.18116964303601</c:v>
                </c:pt>
                <c:pt idx="362">
                  <c:v>159.65263861055399</c:v>
                </c:pt>
                <c:pt idx="363">
                  <c:v>235.04116559050701</c:v>
                </c:pt>
                <c:pt idx="364">
                  <c:v>449.340966582345</c:v>
                </c:pt>
                <c:pt idx="365">
                  <c:v>505.40940818617099</c:v>
                </c:pt>
                <c:pt idx="366">
                  <c:v>398.25325195979002</c:v>
                </c:pt>
                <c:pt idx="367">
                  <c:v>348.47583151491102</c:v>
                </c:pt>
                <c:pt idx="368">
                  <c:v>288.65734791118803</c:v>
                </c:pt>
                <c:pt idx="369">
                  <c:v>234.523738940822</c:v>
                </c:pt>
                <c:pt idx="370">
                  <c:v>137.65758170537299</c:v>
                </c:pt>
                <c:pt idx="371">
                  <c:v>478.21396621586001</c:v>
                </c:pt>
                <c:pt idx="372">
                  <c:v>359.83032818101799</c:v>
                </c:pt>
                <c:pt idx="373">
                  <c:v>302.867407009217</c:v>
                </c:pt>
                <c:pt idx="374">
                  <c:v>264.40309691944202</c:v>
                </c:pt>
                <c:pt idx="375">
                  <c:v>234.27762224528001</c:v>
                </c:pt>
                <c:pt idx="376">
                  <c:v>144.839599929537</c:v>
                </c:pt>
                <c:pt idx="377">
                  <c:v>118.06375442738999</c:v>
                </c:pt>
                <c:pt idx="378">
                  <c:v>321.81571815718098</c:v>
                </c:pt>
                <c:pt idx="379">
                  <c:v>282.44910709637099</c:v>
                </c:pt>
                <c:pt idx="380">
                  <c:v>217.781360515914</c:v>
                </c:pt>
                <c:pt idx="381">
                  <c:v>185.67449832178801</c:v>
                </c:pt>
                <c:pt idx="382">
                  <c:v>172.33113492361699</c:v>
                </c:pt>
                <c:pt idx="383">
                  <c:v>101.69250001619299</c:v>
                </c:pt>
                <c:pt idx="384">
                  <c:v>82.901554404145003</c:v>
                </c:pt>
                <c:pt idx="385">
                  <c:v>230.38790592925201</c:v>
                </c:pt>
                <c:pt idx="386">
                  <c:v>171.36464456386</c:v>
                </c:pt>
                <c:pt idx="387">
                  <c:v>149.24794541789399</c:v>
                </c:pt>
                <c:pt idx="388">
                  <c:v>134.89702000219401</c:v>
                </c:pt>
                <c:pt idx="389">
                  <c:v>116.619954254051</c:v>
                </c:pt>
                <c:pt idx="390">
                  <c:v>78.594068080499994</c:v>
                </c:pt>
                <c:pt idx="391">
                  <c:v>64.417217433874995</c:v>
                </c:pt>
                <c:pt idx="392">
                  <c:v>182.205654169805</c:v>
                </c:pt>
                <c:pt idx="393">
                  <c:v>150.58981008951699</c:v>
                </c:pt>
                <c:pt idx="394">
                  <c:v>124.14529502196601</c:v>
                </c:pt>
                <c:pt idx="395">
                  <c:v>108.655119649217</c:v>
                </c:pt>
                <c:pt idx="396">
                  <c:v>113.686725629612</c:v>
                </c:pt>
                <c:pt idx="397">
                  <c:v>75.144026049928996</c:v>
                </c:pt>
                <c:pt idx="398">
                  <c:v>58.444227508605998</c:v>
                </c:pt>
                <c:pt idx="399">
                  <c:v>199.66358932217099</c:v>
                </c:pt>
                <c:pt idx="400">
                  <c:v>155.320364296854</c:v>
                </c:pt>
                <c:pt idx="401">
                  <c:v>157.829902992352</c:v>
                </c:pt>
                <c:pt idx="402">
                  <c:v>119.925607644455</c:v>
                </c:pt>
                <c:pt idx="403">
                  <c:v>115.972115433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49</c:v>
                </c:pt>
                <c:pt idx="1">
                  <c:v>44450</c:v>
                </c:pt>
                <c:pt idx="2">
                  <c:v>44451</c:v>
                </c:pt>
                <c:pt idx="3">
                  <c:v>44452</c:v>
                </c:pt>
                <c:pt idx="4">
                  <c:v>44453</c:v>
                </c:pt>
                <c:pt idx="5">
                  <c:v>44454</c:v>
                </c:pt>
                <c:pt idx="6">
                  <c:v>44455</c:v>
                </c:pt>
                <c:pt idx="7">
                  <c:v>44456</c:v>
                </c:pt>
                <c:pt idx="8">
                  <c:v>44457</c:v>
                </c:pt>
                <c:pt idx="9">
                  <c:v>44458</c:v>
                </c:pt>
                <c:pt idx="10">
                  <c:v>44459</c:v>
                </c:pt>
                <c:pt idx="11">
                  <c:v>44460</c:v>
                </c:pt>
                <c:pt idx="12">
                  <c:v>44461</c:v>
                </c:pt>
                <c:pt idx="13">
                  <c:v>44462</c:v>
                </c:pt>
                <c:pt idx="14">
                  <c:v>44463</c:v>
                </c:pt>
                <c:pt idx="15">
                  <c:v>44464</c:v>
                </c:pt>
                <c:pt idx="16">
                  <c:v>44465</c:v>
                </c:pt>
                <c:pt idx="17">
                  <c:v>44466</c:v>
                </c:pt>
                <c:pt idx="18">
                  <c:v>44467</c:v>
                </c:pt>
                <c:pt idx="19">
                  <c:v>44468</c:v>
                </c:pt>
                <c:pt idx="20">
                  <c:v>44469</c:v>
                </c:pt>
                <c:pt idx="21">
                  <c:v>44470</c:v>
                </c:pt>
                <c:pt idx="22">
                  <c:v>44471</c:v>
                </c:pt>
                <c:pt idx="23">
                  <c:v>44472</c:v>
                </c:pt>
                <c:pt idx="24">
                  <c:v>44473</c:v>
                </c:pt>
                <c:pt idx="25">
                  <c:v>44474</c:v>
                </c:pt>
                <c:pt idx="26">
                  <c:v>44475</c:v>
                </c:pt>
                <c:pt idx="27">
                  <c:v>44476</c:v>
                </c:pt>
                <c:pt idx="28">
                  <c:v>44477</c:v>
                </c:pt>
                <c:pt idx="29">
                  <c:v>44478</c:v>
                </c:pt>
                <c:pt idx="30">
                  <c:v>44479</c:v>
                </c:pt>
                <c:pt idx="31">
                  <c:v>44480</c:v>
                </c:pt>
                <c:pt idx="32">
                  <c:v>44481</c:v>
                </c:pt>
                <c:pt idx="33">
                  <c:v>44482</c:v>
                </c:pt>
                <c:pt idx="34">
                  <c:v>44483</c:v>
                </c:pt>
                <c:pt idx="35">
                  <c:v>44484</c:v>
                </c:pt>
                <c:pt idx="36">
                  <c:v>44485</c:v>
                </c:pt>
                <c:pt idx="37">
                  <c:v>44486</c:v>
                </c:pt>
                <c:pt idx="38">
                  <c:v>44487</c:v>
                </c:pt>
                <c:pt idx="39">
                  <c:v>44488</c:v>
                </c:pt>
                <c:pt idx="40">
                  <c:v>44489</c:v>
                </c:pt>
                <c:pt idx="41">
                  <c:v>44490</c:v>
                </c:pt>
                <c:pt idx="42">
                  <c:v>44491</c:v>
                </c:pt>
                <c:pt idx="43">
                  <c:v>44492</c:v>
                </c:pt>
                <c:pt idx="44">
                  <c:v>44493</c:v>
                </c:pt>
                <c:pt idx="45">
                  <c:v>44494</c:v>
                </c:pt>
                <c:pt idx="46">
                  <c:v>44495</c:v>
                </c:pt>
                <c:pt idx="47">
                  <c:v>44496</c:v>
                </c:pt>
                <c:pt idx="48">
                  <c:v>44497</c:v>
                </c:pt>
                <c:pt idx="49">
                  <c:v>44498</c:v>
                </c:pt>
                <c:pt idx="50">
                  <c:v>44499</c:v>
                </c:pt>
                <c:pt idx="51">
                  <c:v>44500</c:v>
                </c:pt>
                <c:pt idx="52">
                  <c:v>44501</c:v>
                </c:pt>
                <c:pt idx="53">
                  <c:v>44502</c:v>
                </c:pt>
                <c:pt idx="54">
                  <c:v>44503</c:v>
                </c:pt>
                <c:pt idx="55">
                  <c:v>44504</c:v>
                </c:pt>
                <c:pt idx="56">
                  <c:v>44505</c:v>
                </c:pt>
                <c:pt idx="57">
                  <c:v>44506</c:v>
                </c:pt>
                <c:pt idx="58">
                  <c:v>44507</c:v>
                </c:pt>
                <c:pt idx="59">
                  <c:v>44508</c:v>
                </c:pt>
                <c:pt idx="60">
                  <c:v>44509</c:v>
                </c:pt>
                <c:pt idx="61">
                  <c:v>44510</c:v>
                </c:pt>
                <c:pt idx="62">
                  <c:v>44511</c:v>
                </c:pt>
                <c:pt idx="63">
                  <c:v>44512</c:v>
                </c:pt>
                <c:pt idx="64">
                  <c:v>44513</c:v>
                </c:pt>
                <c:pt idx="65">
                  <c:v>44514</c:v>
                </c:pt>
                <c:pt idx="66">
                  <c:v>44515</c:v>
                </c:pt>
                <c:pt idx="67">
                  <c:v>44516</c:v>
                </c:pt>
                <c:pt idx="68">
                  <c:v>44517</c:v>
                </c:pt>
                <c:pt idx="69">
                  <c:v>44518</c:v>
                </c:pt>
                <c:pt idx="70">
                  <c:v>44519</c:v>
                </c:pt>
                <c:pt idx="71">
                  <c:v>44520</c:v>
                </c:pt>
                <c:pt idx="72">
                  <c:v>44521</c:v>
                </c:pt>
                <c:pt idx="73">
                  <c:v>44522</c:v>
                </c:pt>
                <c:pt idx="74">
                  <c:v>44523</c:v>
                </c:pt>
                <c:pt idx="75">
                  <c:v>44524</c:v>
                </c:pt>
                <c:pt idx="76">
                  <c:v>44525</c:v>
                </c:pt>
                <c:pt idx="77">
                  <c:v>44526</c:v>
                </c:pt>
                <c:pt idx="78">
                  <c:v>44527</c:v>
                </c:pt>
                <c:pt idx="79">
                  <c:v>44528</c:v>
                </c:pt>
                <c:pt idx="80">
                  <c:v>44529</c:v>
                </c:pt>
                <c:pt idx="81">
                  <c:v>44530</c:v>
                </c:pt>
                <c:pt idx="82">
                  <c:v>44531</c:v>
                </c:pt>
                <c:pt idx="83">
                  <c:v>44532</c:v>
                </c:pt>
                <c:pt idx="84">
                  <c:v>44533</c:v>
                </c:pt>
                <c:pt idx="85">
                  <c:v>44534</c:v>
                </c:pt>
                <c:pt idx="86">
                  <c:v>44535</c:v>
                </c:pt>
                <c:pt idx="87">
                  <c:v>44536</c:v>
                </c:pt>
                <c:pt idx="88">
                  <c:v>44537</c:v>
                </c:pt>
                <c:pt idx="89">
                  <c:v>44538</c:v>
                </c:pt>
                <c:pt idx="90">
                  <c:v>44539</c:v>
                </c:pt>
                <c:pt idx="91">
                  <c:v>44540</c:v>
                </c:pt>
                <c:pt idx="92">
                  <c:v>44541</c:v>
                </c:pt>
                <c:pt idx="93">
                  <c:v>44542</c:v>
                </c:pt>
                <c:pt idx="94">
                  <c:v>44543</c:v>
                </c:pt>
                <c:pt idx="95">
                  <c:v>44544</c:v>
                </c:pt>
                <c:pt idx="96">
                  <c:v>44545</c:v>
                </c:pt>
                <c:pt idx="97">
                  <c:v>44546</c:v>
                </c:pt>
                <c:pt idx="98">
                  <c:v>44547</c:v>
                </c:pt>
                <c:pt idx="99">
                  <c:v>44548</c:v>
                </c:pt>
                <c:pt idx="100">
                  <c:v>44549</c:v>
                </c:pt>
                <c:pt idx="101">
                  <c:v>44550</c:v>
                </c:pt>
                <c:pt idx="102">
                  <c:v>44551</c:v>
                </c:pt>
                <c:pt idx="103">
                  <c:v>44552</c:v>
                </c:pt>
                <c:pt idx="104">
                  <c:v>44553</c:v>
                </c:pt>
                <c:pt idx="105">
                  <c:v>44554</c:v>
                </c:pt>
                <c:pt idx="106">
                  <c:v>44555</c:v>
                </c:pt>
                <c:pt idx="107">
                  <c:v>44556</c:v>
                </c:pt>
                <c:pt idx="108">
                  <c:v>44557</c:v>
                </c:pt>
                <c:pt idx="109">
                  <c:v>44558</c:v>
                </c:pt>
                <c:pt idx="110">
                  <c:v>44559</c:v>
                </c:pt>
                <c:pt idx="111">
                  <c:v>44560</c:v>
                </c:pt>
                <c:pt idx="112">
                  <c:v>44561</c:v>
                </c:pt>
                <c:pt idx="113">
                  <c:v>44562</c:v>
                </c:pt>
                <c:pt idx="114">
                  <c:v>44563</c:v>
                </c:pt>
                <c:pt idx="115">
                  <c:v>44564</c:v>
                </c:pt>
                <c:pt idx="116">
                  <c:v>44565</c:v>
                </c:pt>
                <c:pt idx="117">
                  <c:v>44566</c:v>
                </c:pt>
                <c:pt idx="118">
                  <c:v>44567</c:v>
                </c:pt>
                <c:pt idx="119">
                  <c:v>44568</c:v>
                </c:pt>
                <c:pt idx="120">
                  <c:v>44569</c:v>
                </c:pt>
                <c:pt idx="121">
                  <c:v>44570</c:v>
                </c:pt>
                <c:pt idx="122">
                  <c:v>44571</c:v>
                </c:pt>
                <c:pt idx="123">
                  <c:v>44572</c:v>
                </c:pt>
                <c:pt idx="124">
                  <c:v>44573</c:v>
                </c:pt>
                <c:pt idx="125">
                  <c:v>44574</c:v>
                </c:pt>
                <c:pt idx="126">
                  <c:v>44575</c:v>
                </c:pt>
                <c:pt idx="127">
                  <c:v>44576</c:v>
                </c:pt>
                <c:pt idx="128">
                  <c:v>44577</c:v>
                </c:pt>
                <c:pt idx="129">
                  <c:v>44578</c:v>
                </c:pt>
                <c:pt idx="130">
                  <c:v>44579</c:v>
                </c:pt>
                <c:pt idx="131">
                  <c:v>44580</c:v>
                </c:pt>
                <c:pt idx="132">
                  <c:v>44581</c:v>
                </c:pt>
                <c:pt idx="133">
                  <c:v>44582</c:v>
                </c:pt>
                <c:pt idx="134">
                  <c:v>44583</c:v>
                </c:pt>
                <c:pt idx="135">
                  <c:v>44584</c:v>
                </c:pt>
                <c:pt idx="136">
                  <c:v>44585</c:v>
                </c:pt>
                <c:pt idx="137">
                  <c:v>44586</c:v>
                </c:pt>
                <c:pt idx="138">
                  <c:v>44587</c:v>
                </c:pt>
                <c:pt idx="139">
                  <c:v>44588</c:v>
                </c:pt>
                <c:pt idx="140">
                  <c:v>44589</c:v>
                </c:pt>
                <c:pt idx="141">
                  <c:v>44590</c:v>
                </c:pt>
                <c:pt idx="142">
                  <c:v>44591</c:v>
                </c:pt>
                <c:pt idx="143">
                  <c:v>44592</c:v>
                </c:pt>
                <c:pt idx="144">
                  <c:v>44593</c:v>
                </c:pt>
                <c:pt idx="145">
                  <c:v>44594</c:v>
                </c:pt>
                <c:pt idx="146">
                  <c:v>44595</c:v>
                </c:pt>
                <c:pt idx="147">
                  <c:v>44596</c:v>
                </c:pt>
                <c:pt idx="148">
                  <c:v>44597</c:v>
                </c:pt>
                <c:pt idx="149">
                  <c:v>44598</c:v>
                </c:pt>
                <c:pt idx="150">
                  <c:v>44599</c:v>
                </c:pt>
                <c:pt idx="151">
                  <c:v>44600</c:v>
                </c:pt>
                <c:pt idx="152">
                  <c:v>44601</c:v>
                </c:pt>
                <c:pt idx="153">
                  <c:v>44602</c:v>
                </c:pt>
                <c:pt idx="154">
                  <c:v>44603</c:v>
                </c:pt>
                <c:pt idx="155">
                  <c:v>44604</c:v>
                </c:pt>
                <c:pt idx="156">
                  <c:v>44605</c:v>
                </c:pt>
                <c:pt idx="157">
                  <c:v>44606</c:v>
                </c:pt>
                <c:pt idx="158">
                  <c:v>44607</c:v>
                </c:pt>
                <c:pt idx="159">
                  <c:v>44608</c:v>
                </c:pt>
                <c:pt idx="160">
                  <c:v>44609</c:v>
                </c:pt>
                <c:pt idx="161">
                  <c:v>44610</c:v>
                </c:pt>
                <c:pt idx="162">
                  <c:v>44611</c:v>
                </c:pt>
                <c:pt idx="163">
                  <c:v>44612</c:v>
                </c:pt>
                <c:pt idx="164">
                  <c:v>44613</c:v>
                </c:pt>
                <c:pt idx="165">
                  <c:v>44614</c:v>
                </c:pt>
                <c:pt idx="166">
                  <c:v>44615</c:v>
                </c:pt>
                <c:pt idx="167">
                  <c:v>44616</c:v>
                </c:pt>
                <c:pt idx="168">
                  <c:v>44617</c:v>
                </c:pt>
                <c:pt idx="169">
                  <c:v>44618</c:v>
                </c:pt>
                <c:pt idx="170">
                  <c:v>44619</c:v>
                </c:pt>
                <c:pt idx="171">
                  <c:v>44620</c:v>
                </c:pt>
                <c:pt idx="172">
                  <c:v>44621</c:v>
                </c:pt>
                <c:pt idx="173">
                  <c:v>44622</c:v>
                </c:pt>
                <c:pt idx="174">
                  <c:v>44623</c:v>
                </c:pt>
                <c:pt idx="175">
                  <c:v>44624</c:v>
                </c:pt>
                <c:pt idx="176">
                  <c:v>44625</c:v>
                </c:pt>
                <c:pt idx="177">
                  <c:v>44626</c:v>
                </c:pt>
                <c:pt idx="178">
                  <c:v>44627</c:v>
                </c:pt>
                <c:pt idx="179">
                  <c:v>44628</c:v>
                </c:pt>
                <c:pt idx="180">
                  <c:v>44629</c:v>
                </c:pt>
                <c:pt idx="181">
                  <c:v>44630</c:v>
                </c:pt>
                <c:pt idx="182">
                  <c:v>44631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4</c:v>
                </c:pt>
                <c:pt idx="11">
                  <c:v>4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2</c:v>
                </c:pt>
                <c:pt idx="19">
                  <c:v>7</c:v>
                </c:pt>
                <c:pt idx="20">
                  <c:v>3</c:v>
                </c:pt>
                <c:pt idx="21">
                  <c:v>3</c:v>
                </c:pt>
                <c:pt idx="22">
                  <c:v>0</c:v>
                </c:pt>
                <c:pt idx="23">
                  <c:v>0</c:v>
                </c:pt>
                <c:pt idx="24">
                  <c:v>4</c:v>
                </c:pt>
                <c:pt idx="25">
                  <c:v>5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1</c:v>
                </c:pt>
                <c:pt idx="30">
                  <c:v>0</c:v>
                </c:pt>
                <c:pt idx="31">
                  <c:v>2</c:v>
                </c:pt>
                <c:pt idx="32">
                  <c:v>3</c:v>
                </c:pt>
                <c:pt idx="33">
                  <c:v>1</c:v>
                </c:pt>
                <c:pt idx="34">
                  <c:v>3</c:v>
                </c:pt>
                <c:pt idx="35">
                  <c:v>7</c:v>
                </c:pt>
                <c:pt idx="36">
                  <c:v>2</c:v>
                </c:pt>
                <c:pt idx="37">
                  <c:v>1</c:v>
                </c:pt>
                <c:pt idx="38">
                  <c:v>12</c:v>
                </c:pt>
                <c:pt idx="39">
                  <c:v>8</c:v>
                </c:pt>
                <c:pt idx="40">
                  <c:v>11</c:v>
                </c:pt>
                <c:pt idx="41">
                  <c:v>7</c:v>
                </c:pt>
                <c:pt idx="42">
                  <c:v>12</c:v>
                </c:pt>
                <c:pt idx="43">
                  <c:v>0</c:v>
                </c:pt>
                <c:pt idx="44">
                  <c:v>4</c:v>
                </c:pt>
                <c:pt idx="45">
                  <c:v>20</c:v>
                </c:pt>
                <c:pt idx="46">
                  <c:v>6</c:v>
                </c:pt>
                <c:pt idx="47">
                  <c:v>18</c:v>
                </c:pt>
                <c:pt idx="48">
                  <c:v>3</c:v>
                </c:pt>
                <c:pt idx="49">
                  <c:v>8</c:v>
                </c:pt>
                <c:pt idx="50">
                  <c:v>5</c:v>
                </c:pt>
                <c:pt idx="51">
                  <c:v>4</c:v>
                </c:pt>
                <c:pt idx="52">
                  <c:v>41</c:v>
                </c:pt>
                <c:pt idx="53">
                  <c:v>26</c:v>
                </c:pt>
                <c:pt idx="54">
                  <c:v>21</c:v>
                </c:pt>
                <c:pt idx="55">
                  <c:v>25</c:v>
                </c:pt>
                <c:pt idx="56">
                  <c:v>27</c:v>
                </c:pt>
                <c:pt idx="57">
                  <c:v>13</c:v>
                </c:pt>
                <c:pt idx="58">
                  <c:v>5</c:v>
                </c:pt>
                <c:pt idx="59">
                  <c:v>54</c:v>
                </c:pt>
                <c:pt idx="60">
                  <c:v>28</c:v>
                </c:pt>
                <c:pt idx="61">
                  <c:v>31</c:v>
                </c:pt>
                <c:pt idx="62">
                  <c:v>38</c:v>
                </c:pt>
                <c:pt idx="63">
                  <c:v>34</c:v>
                </c:pt>
                <c:pt idx="64">
                  <c:v>20</c:v>
                </c:pt>
                <c:pt idx="65">
                  <c:v>14</c:v>
                </c:pt>
                <c:pt idx="66">
                  <c:v>59</c:v>
                </c:pt>
                <c:pt idx="67">
                  <c:v>35</c:v>
                </c:pt>
                <c:pt idx="68">
                  <c:v>14</c:v>
                </c:pt>
                <c:pt idx="69">
                  <c:v>43</c:v>
                </c:pt>
                <c:pt idx="70">
                  <c:v>52</c:v>
                </c:pt>
                <c:pt idx="71">
                  <c:v>13</c:v>
                </c:pt>
                <c:pt idx="72">
                  <c:v>7</c:v>
                </c:pt>
                <c:pt idx="73">
                  <c:v>74</c:v>
                </c:pt>
                <c:pt idx="74">
                  <c:v>44</c:v>
                </c:pt>
                <c:pt idx="75">
                  <c:v>50</c:v>
                </c:pt>
                <c:pt idx="76">
                  <c:v>49</c:v>
                </c:pt>
                <c:pt idx="77">
                  <c:v>51</c:v>
                </c:pt>
                <c:pt idx="78">
                  <c:v>22</c:v>
                </c:pt>
                <c:pt idx="79">
                  <c:v>7</c:v>
                </c:pt>
                <c:pt idx="80">
                  <c:v>44</c:v>
                </c:pt>
                <c:pt idx="81">
                  <c:v>48</c:v>
                </c:pt>
                <c:pt idx="82">
                  <c:v>43</c:v>
                </c:pt>
                <c:pt idx="83">
                  <c:v>33</c:v>
                </c:pt>
                <c:pt idx="84">
                  <c:v>30</c:v>
                </c:pt>
                <c:pt idx="85">
                  <c:v>21</c:v>
                </c:pt>
                <c:pt idx="86">
                  <c:v>10</c:v>
                </c:pt>
                <c:pt idx="87">
                  <c:v>51</c:v>
                </c:pt>
                <c:pt idx="88">
                  <c:v>36</c:v>
                </c:pt>
                <c:pt idx="89">
                  <c:v>35</c:v>
                </c:pt>
                <c:pt idx="90">
                  <c:v>26</c:v>
                </c:pt>
                <c:pt idx="91">
                  <c:v>20</c:v>
                </c:pt>
                <c:pt idx="92">
                  <c:v>13</c:v>
                </c:pt>
                <c:pt idx="93">
                  <c:v>9</c:v>
                </c:pt>
                <c:pt idx="94">
                  <c:v>35</c:v>
                </c:pt>
                <c:pt idx="95">
                  <c:v>37</c:v>
                </c:pt>
                <c:pt idx="96">
                  <c:v>28</c:v>
                </c:pt>
                <c:pt idx="97">
                  <c:v>18</c:v>
                </c:pt>
                <c:pt idx="98">
                  <c:v>16</c:v>
                </c:pt>
                <c:pt idx="99">
                  <c:v>8</c:v>
                </c:pt>
                <c:pt idx="100">
                  <c:v>10</c:v>
                </c:pt>
                <c:pt idx="101">
                  <c:v>28</c:v>
                </c:pt>
                <c:pt idx="102">
                  <c:v>13</c:v>
                </c:pt>
                <c:pt idx="103">
                  <c:v>9</c:v>
                </c:pt>
                <c:pt idx="104">
                  <c:v>4</c:v>
                </c:pt>
                <c:pt idx="105">
                  <c:v>7</c:v>
                </c:pt>
                <c:pt idx="106">
                  <c:v>3</c:v>
                </c:pt>
                <c:pt idx="107">
                  <c:v>5</c:v>
                </c:pt>
                <c:pt idx="108">
                  <c:v>10</c:v>
                </c:pt>
                <c:pt idx="109">
                  <c:v>17</c:v>
                </c:pt>
                <c:pt idx="110">
                  <c:v>10</c:v>
                </c:pt>
                <c:pt idx="111">
                  <c:v>10</c:v>
                </c:pt>
                <c:pt idx="112">
                  <c:v>6</c:v>
                </c:pt>
                <c:pt idx="113">
                  <c:v>1</c:v>
                </c:pt>
                <c:pt idx="114">
                  <c:v>4</c:v>
                </c:pt>
                <c:pt idx="115">
                  <c:v>21</c:v>
                </c:pt>
                <c:pt idx="116">
                  <c:v>14</c:v>
                </c:pt>
                <c:pt idx="117">
                  <c:v>5</c:v>
                </c:pt>
                <c:pt idx="118">
                  <c:v>9</c:v>
                </c:pt>
                <c:pt idx="119">
                  <c:v>11</c:v>
                </c:pt>
                <c:pt idx="120">
                  <c:v>3</c:v>
                </c:pt>
                <c:pt idx="121">
                  <c:v>3</c:v>
                </c:pt>
                <c:pt idx="122">
                  <c:v>19</c:v>
                </c:pt>
                <c:pt idx="123">
                  <c:v>11</c:v>
                </c:pt>
                <c:pt idx="124">
                  <c:v>9</c:v>
                </c:pt>
                <c:pt idx="125">
                  <c:v>13</c:v>
                </c:pt>
                <c:pt idx="126">
                  <c:v>12</c:v>
                </c:pt>
                <c:pt idx="127">
                  <c:v>6</c:v>
                </c:pt>
                <c:pt idx="128">
                  <c:v>11</c:v>
                </c:pt>
                <c:pt idx="129">
                  <c:v>47</c:v>
                </c:pt>
                <c:pt idx="130">
                  <c:v>35</c:v>
                </c:pt>
                <c:pt idx="131">
                  <c:v>43</c:v>
                </c:pt>
                <c:pt idx="132">
                  <c:v>48</c:v>
                </c:pt>
                <c:pt idx="133">
                  <c:v>68</c:v>
                </c:pt>
                <c:pt idx="134">
                  <c:v>20</c:v>
                </c:pt>
                <c:pt idx="135">
                  <c:v>16</c:v>
                </c:pt>
                <c:pt idx="136">
                  <c:v>95</c:v>
                </c:pt>
                <c:pt idx="137">
                  <c:v>104</c:v>
                </c:pt>
                <c:pt idx="138">
                  <c:v>99</c:v>
                </c:pt>
                <c:pt idx="139">
                  <c:v>60</c:v>
                </c:pt>
                <c:pt idx="140">
                  <c:v>74</c:v>
                </c:pt>
                <c:pt idx="141">
                  <c:v>30</c:v>
                </c:pt>
                <c:pt idx="142">
                  <c:v>31</c:v>
                </c:pt>
                <c:pt idx="143">
                  <c:v>117</c:v>
                </c:pt>
                <c:pt idx="144">
                  <c:v>117</c:v>
                </c:pt>
                <c:pt idx="145">
                  <c:v>83</c:v>
                </c:pt>
                <c:pt idx="146">
                  <c:v>71</c:v>
                </c:pt>
                <c:pt idx="147">
                  <c:v>84</c:v>
                </c:pt>
                <c:pt idx="148">
                  <c:v>32</c:v>
                </c:pt>
                <c:pt idx="149">
                  <c:v>25</c:v>
                </c:pt>
                <c:pt idx="150">
                  <c:v>133</c:v>
                </c:pt>
                <c:pt idx="151">
                  <c:v>92</c:v>
                </c:pt>
                <c:pt idx="152">
                  <c:v>64</c:v>
                </c:pt>
                <c:pt idx="153">
                  <c:v>69</c:v>
                </c:pt>
                <c:pt idx="154">
                  <c:v>52</c:v>
                </c:pt>
                <c:pt idx="155">
                  <c:v>23</c:v>
                </c:pt>
                <c:pt idx="156">
                  <c:v>27</c:v>
                </c:pt>
                <c:pt idx="157">
                  <c:v>90</c:v>
                </c:pt>
                <c:pt idx="158">
                  <c:v>74</c:v>
                </c:pt>
                <c:pt idx="159">
                  <c:v>69</c:v>
                </c:pt>
                <c:pt idx="160" formatCode="General">
                  <c:v>41</c:v>
                </c:pt>
                <c:pt idx="161" formatCode="General">
                  <c:v>30</c:v>
                </c:pt>
                <c:pt idx="162" formatCode="General">
                  <c:v>24</c:v>
                </c:pt>
                <c:pt idx="163" formatCode="General">
                  <c:v>11</c:v>
                </c:pt>
                <c:pt idx="164" formatCode="General">
                  <c:v>65</c:v>
                </c:pt>
                <c:pt idx="165" formatCode="General">
                  <c:v>39</c:v>
                </c:pt>
                <c:pt idx="166" formatCode="General">
                  <c:v>41</c:v>
                </c:pt>
                <c:pt idx="167" formatCode="General">
                  <c:v>33</c:v>
                </c:pt>
                <c:pt idx="168" formatCode="General">
                  <c:v>26</c:v>
                </c:pt>
                <c:pt idx="169" formatCode="General">
                  <c:v>11</c:v>
                </c:pt>
                <c:pt idx="170" formatCode="General">
                  <c:v>12</c:v>
                </c:pt>
                <c:pt idx="171" formatCode="General">
                  <c:v>42</c:v>
                </c:pt>
                <c:pt idx="172" formatCode="General">
                  <c:v>31</c:v>
                </c:pt>
                <c:pt idx="173" formatCode="General">
                  <c:v>26</c:v>
                </c:pt>
                <c:pt idx="174" formatCode="General">
                  <c:v>19</c:v>
                </c:pt>
                <c:pt idx="175" formatCode="General">
                  <c:v>19</c:v>
                </c:pt>
                <c:pt idx="176" formatCode="General">
                  <c:v>17</c:v>
                </c:pt>
                <c:pt idx="177" formatCode="General">
                  <c:v>10</c:v>
                </c:pt>
                <c:pt idx="178" formatCode="General">
                  <c:v>42</c:v>
                </c:pt>
                <c:pt idx="179" formatCode="General">
                  <c:v>32</c:v>
                </c:pt>
                <c:pt idx="180" formatCode="General">
                  <c:v>35</c:v>
                </c:pt>
                <c:pt idx="181" formatCode="General">
                  <c:v>15</c:v>
                </c:pt>
                <c:pt idx="182" formatCode="General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4">
                  <c:v>0.41781269999999998</c:v>
                </c:pt>
                <c:pt idx="35">
                  <c:v>0.55708360000000001</c:v>
                </c:pt>
                <c:pt idx="36">
                  <c:v>1.5319799999999999</c:v>
                </c:pt>
                <c:pt idx="37">
                  <c:v>3.3425020000000001</c:v>
                </c:pt>
                <c:pt idx="38">
                  <c:v>8.0777131000000004</c:v>
                </c:pt>
                <c:pt idx="39">
                  <c:v>49.301904499999999</c:v>
                </c:pt>
                <c:pt idx="40">
                  <c:v>89.411928500000002</c:v>
                </c:pt>
                <c:pt idx="41">
                  <c:v>166.42874549999999</c:v>
                </c:pt>
                <c:pt idx="42">
                  <c:v>272.27464220000002</c:v>
                </c:pt>
                <c:pt idx="43">
                  <c:v>256.95484140000002</c:v>
                </c:pt>
                <c:pt idx="44">
                  <c:v>206.39949859999999</c:v>
                </c:pt>
                <c:pt idx="45">
                  <c:v>153.47655019999999</c:v>
                </c:pt>
                <c:pt idx="46">
                  <c:v>105.9851676</c:v>
                </c:pt>
                <c:pt idx="47">
                  <c:v>67.964207299999998</c:v>
                </c:pt>
                <c:pt idx="48">
                  <c:v>70.192542000000003</c:v>
                </c:pt>
                <c:pt idx="49">
                  <c:v>64.482434400000002</c:v>
                </c:pt>
                <c:pt idx="50">
                  <c:v>82.169840800000003</c:v>
                </c:pt>
                <c:pt idx="51">
                  <c:v>92.754430499999998</c:v>
                </c:pt>
                <c:pt idx="52">
                  <c:v>101.87667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15.8734027</c:v>
                </c:pt>
                <c:pt idx="1">
                  <c:v>103.47829110000001</c:v>
                </c:pt>
                <c:pt idx="2">
                  <c:v>68.242749200000006</c:v>
                </c:pt>
                <c:pt idx="3">
                  <c:v>54.5941993</c:v>
                </c:pt>
                <c:pt idx="4">
                  <c:v>51.112426399999997</c:v>
                </c:pt>
                <c:pt idx="5">
                  <c:v>36.2104383</c:v>
                </c:pt>
                <c:pt idx="6">
                  <c:v>34.539187300000002</c:v>
                </c:pt>
                <c:pt idx="7">
                  <c:v>38.578043899999997</c:v>
                </c:pt>
                <c:pt idx="8">
                  <c:v>39.831482100000002</c:v>
                </c:pt>
                <c:pt idx="9">
                  <c:v>32.310852599999997</c:v>
                </c:pt>
                <c:pt idx="10">
                  <c:v>21.935169299999998</c:v>
                </c:pt>
                <c:pt idx="11">
                  <c:v>16.155426299999998</c:v>
                </c:pt>
                <c:pt idx="12">
                  <c:v>12.812924300000001</c:v>
                </c:pt>
                <c:pt idx="13">
                  <c:v>10.027506000000001</c:v>
                </c:pt>
                <c:pt idx="14">
                  <c:v>7.5206295000000001</c:v>
                </c:pt>
                <c:pt idx="15">
                  <c:v>5.9886493999999999</c:v>
                </c:pt>
                <c:pt idx="16">
                  <c:v>4.0388564999999996</c:v>
                </c:pt>
                <c:pt idx="17">
                  <c:v>2.3676054999999998</c:v>
                </c:pt>
                <c:pt idx="18">
                  <c:v>2.2283346000000002</c:v>
                </c:pt>
                <c:pt idx="19">
                  <c:v>2.2283346000000002</c:v>
                </c:pt>
                <c:pt idx="20">
                  <c:v>1.1141673000000001</c:v>
                </c:pt>
                <c:pt idx="21">
                  <c:v>0.41781269999999998</c:v>
                </c:pt>
                <c:pt idx="22">
                  <c:v>0.27854180000000001</c:v>
                </c:pt>
                <c:pt idx="23">
                  <c:v>0</c:v>
                </c:pt>
                <c:pt idx="24">
                  <c:v>0</c:v>
                </c:pt>
                <c:pt idx="25">
                  <c:v>0.41781269999999998</c:v>
                </c:pt>
                <c:pt idx="26">
                  <c:v>0.1392709</c:v>
                </c:pt>
                <c:pt idx="27">
                  <c:v>0.27854180000000001</c:v>
                </c:pt>
                <c:pt idx="28">
                  <c:v>0.1392709</c:v>
                </c:pt>
                <c:pt idx="29">
                  <c:v>0.41781269999999998</c:v>
                </c:pt>
                <c:pt idx="30">
                  <c:v>0</c:v>
                </c:pt>
                <c:pt idx="31">
                  <c:v>0.27854180000000001</c:v>
                </c:pt>
                <c:pt idx="32">
                  <c:v>0</c:v>
                </c:pt>
                <c:pt idx="33">
                  <c:v>0.1392709</c:v>
                </c:pt>
                <c:pt idx="34">
                  <c:v>1.2534381999999999</c:v>
                </c:pt>
                <c:pt idx="35">
                  <c:v>0.83562550000000002</c:v>
                </c:pt>
                <c:pt idx="36">
                  <c:v>0.55708360000000001</c:v>
                </c:pt>
                <c:pt idx="37">
                  <c:v>1.5319799999999999</c:v>
                </c:pt>
                <c:pt idx="38">
                  <c:v>2.2283346000000002</c:v>
                </c:pt>
                <c:pt idx="39">
                  <c:v>2.3676054999999998</c:v>
                </c:pt>
                <c:pt idx="40">
                  <c:v>1.3927091</c:v>
                </c:pt>
                <c:pt idx="41">
                  <c:v>6.1279203000000004</c:v>
                </c:pt>
                <c:pt idx="42">
                  <c:v>9.3311513999999995</c:v>
                </c:pt>
                <c:pt idx="43">
                  <c:v>15.041259</c:v>
                </c:pt>
                <c:pt idx="44">
                  <c:v>25.486577700000002</c:v>
                </c:pt>
                <c:pt idx="45">
                  <c:v>29.8039761</c:v>
                </c:pt>
                <c:pt idx="46">
                  <c:v>39.413669400000003</c:v>
                </c:pt>
                <c:pt idx="47">
                  <c:v>36.767522</c:v>
                </c:pt>
                <c:pt idx="48">
                  <c:v>30.082518</c:v>
                </c:pt>
                <c:pt idx="49">
                  <c:v>23.397514000000001</c:v>
                </c:pt>
                <c:pt idx="50">
                  <c:v>14.205633499999999</c:v>
                </c:pt>
                <c:pt idx="51">
                  <c:v>7.7991713000000003</c:v>
                </c:pt>
                <c:pt idx="52">
                  <c:v>7.7991713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9.0526095000000009</c:v>
                </c:pt>
                <c:pt idx="1">
                  <c:v>9.7489641000000002</c:v>
                </c:pt>
                <c:pt idx="2">
                  <c:v>35.931896500000001</c:v>
                </c:pt>
                <c:pt idx="3">
                  <c:v>65.178788999999995</c:v>
                </c:pt>
                <c:pt idx="4">
                  <c:v>74.231398600000006</c:v>
                </c:pt>
                <c:pt idx="5">
                  <c:v>65.039518099999995</c:v>
                </c:pt>
                <c:pt idx="6">
                  <c:v>49.301904499999999</c:v>
                </c:pt>
                <c:pt idx="7">
                  <c:v>33.285749099999997</c:v>
                </c:pt>
                <c:pt idx="8">
                  <c:v>22.283346600000002</c:v>
                </c:pt>
                <c:pt idx="9">
                  <c:v>23.6760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5.015780000000007</c:v>
                </c:pt>
                <c:pt idx="1">
                  <c:v>61.468620000000001</c:v>
                </c:pt>
                <c:pt idx="2">
                  <c:v>56.417659999999998</c:v>
                </c:pt>
                <c:pt idx="3">
                  <c:v>56.101660000000003</c:v>
                </c:pt>
                <c:pt idx="4">
                  <c:v>54.284709999999997</c:v>
                </c:pt>
                <c:pt idx="5">
                  <c:v>57.019649999999999</c:v>
                </c:pt>
                <c:pt idx="6">
                  <c:v>66.930869999999999</c:v>
                </c:pt>
                <c:pt idx="7">
                  <c:v>51.16704</c:v>
                </c:pt>
                <c:pt idx="8">
                  <c:v>57.595970000000001</c:v>
                </c:pt>
                <c:pt idx="9">
                  <c:v>56.572560000000003</c:v>
                </c:pt>
                <c:pt idx="10">
                  <c:v>62.43341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2.774179999999999</c:v>
                </c:pt>
                <c:pt idx="1">
                  <c:v>21.916309999999999</c:v>
                </c:pt>
                <c:pt idx="2">
                  <c:v>24.255299999999998</c:v>
                </c:pt>
                <c:pt idx="3">
                  <c:v>23.188410000000001</c:v>
                </c:pt>
                <c:pt idx="4">
                  <c:v>25.444310000000002</c:v>
                </c:pt>
                <c:pt idx="5">
                  <c:v>24.76408</c:v>
                </c:pt>
                <c:pt idx="6">
                  <c:v>19.528839999999999</c:v>
                </c:pt>
                <c:pt idx="7">
                  <c:v>24.803699999999999</c:v>
                </c:pt>
                <c:pt idx="8">
                  <c:v>24.503129999999999</c:v>
                </c:pt>
                <c:pt idx="9">
                  <c:v>24.48508</c:v>
                </c:pt>
                <c:pt idx="10">
                  <c:v>20.869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342302</c:v>
                </c:pt>
                <c:pt idx="1">
                  <c:v>0.5688725</c:v>
                </c:pt>
                <c:pt idx="2">
                  <c:v>0.55791619999999997</c:v>
                </c:pt>
                <c:pt idx="3">
                  <c:v>0.58811170000000002</c:v>
                </c:pt>
                <c:pt idx="4">
                  <c:v>0.80943160000000003</c:v>
                </c:pt>
                <c:pt idx="5">
                  <c:v>0.54919549999999995</c:v>
                </c:pt>
                <c:pt idx="6">
                  <c:v>0.55041830000000003</c:v>
                </c:pt>
                <c:pt idx="7">
                  <c:v>0.58083249999999997</c:v>
                </c:pt>
                <c:pt idx="8">
                  <c:v>0.57854609999999995</c:v>
                </c:pt>
                <c:pt idx="9">
                  <c:v>0.47132020000000002</c:v>
                </c:pt>
                <c:pt idx="10">
                  <c:v>0.5174427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3.3312300000000001</c:v>
                </c:pt>
                <c:pt idx="1">
                  <c:v>9.6176490000000001</c:v>
                </c:pt>
                <c:pt idx="2">
                  <c:v>10.337669999999999</c:v>
                </c:pt>
                <c:pt idx="3">
                  <c:v>9.9138839999999995</c:v>
                </c:pt>
                <c:pt idx="4">
                  <c:v>11.68397</c:v>
                </c:pt>
                <c:pt idx="5">
                  <c:v>10.20266</c:v>
                </c:pt>
                <c:pt idx="6">
                  <c:v>7.2875389999999998</c:v>
                </c:pt>
                <c:pt idx="7">
                  <c:v>12.552440000000001</c:v>
                </c:pt>
                <c:pt idx="8">
                  <c:v>10.34577</c:v>
                </c:pt>
                <c:pt idx="9">
                  <c:v>9.7280479999999994</c:v>
                </c:pt>
                <c:pt idx="10">
                  <c:v>8.56939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8.5365149999999996</c:v>
                </c:pt>
                <c:pt idx="1">
                  <c:v>6.4285439999999996</c:v>
                </c:pt>
                <c:pt idx="2">
                  <c:v>8.4314549999999997</c:v>
                </c:pt>
                <c:pt idx="3">
                  <c:v>10.207940000000001</c:v>
                </c:pt>
                <c:pt idx="4">
                  <c:v>7.7775819999999998</c:v>
                </c:pt>
                <c:pt idx="5">
                  <c:v>7.4644180000000002</c:v>
                </c:pt>
                <c:pt idx="6">
                  <c:v>5.7023339999999996</c:v>
                </c:pt>
                <c:pt idx="7">
                  <c:v>10.895989999999999</c:v>
                </c:pt>
                <c:pt idx="8">
                  <c:v>6.9765860000000002</c:v>
                </c:pt>
                <c:pt idx="9">
                  <c:v>8.7429889999999997</c:v>
                </c:pt>
                <c:pt idx="10">
                  <c:v>7.6100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álovéhrad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652500000000003</c:v>
                </c:pt>
                <c:pt idx="1">
                  <c:v>90.461299999999994</c:v>
                </c:pt>
                <c:pt idx="2">
                  <c:v>90.166409999999999</c:v>
                </c:pt>
                <c:pt idx="3">
                  <c:v>90.120660000000001</c:v>
                </c:pt>
                <c:pt idx="4">
                  <c:v>90.055899999999994</c:v>
                </c:pt>
                <c:pt idx="5">
                  <c:v>89.695210000000003</c:v>
                </c:pt>
                <c:pt idx="6">
                  <c:v>89.193190000000001</c:v>
                </c:pt>
                <c:pt idx="7">
                  <c:v>89.134619999999998</c:v>
                </c:pt>
                <c:pt idx="8">
                  <c:v>88.952569999999994</c:v>
                </c:pt>
                <c:pt idx="9">
                  <c:v>88.013990000000007</c:v>
                </c:pt>
                <c:pt idx="10">
                  <c:v>87.272729999999996</c:v>
                </c:pt>
                <c:pt idx="11">
                  <c:v>85.214010000000002</c:v>
                </c:pt>
                <c:pt idx="12">
                  <c:v>84.966139999999996</c:v>
                </c:pt>
                <c:pt idx="13">
                  <c:v>84.463059999999999</c:v>
                </c:pt>
                <c:pt idx="14">
                  <c:v>84.1958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582939999999994</c:v>
                </c:pt>
                <c:pt idx="1">
                  <c:v>88.31241</c:v>
                </c:pt>
                <c:pt idx="2">
                  <c:v>87.890559999999994</c:v>
                </c:pt>
                <c:pt idx="3">
                  <c:v>87.532049999999998</c:v>
                </c:pt>
                <c:pt idx="4">
                  <c:v>86.500249999999994</c:v>
                </c:pt>
                <c:pt idx="5">
                  <c:v>86.277590000000004</c:v>
                </c:pt>
                <c:pt idx="6">
                  <c:v>85.389390000000006</c:v>
                </c:pt>
                <c:pt idx="7">
                  <c:v>84.717519999999993</c:v>
                </c:pt>
                <c:pt idx="8">
                  <c:v>84.615380000000002</c:v>
                </c:pt>
                <c:pt idx="9">
                  <c:v>84.260890000000003</c:v>
                </c:pt>
                <c:pt idx="10">
                  <c:v>83.380889999999994</c:v>
                </c:pt>
                <c:pt idx="11">
                  <c:v>81.533479999999997</c:v>
                </c:pt>
                <c:pt idx="12">
                  <c:v>79.340890000000002</c:v>
                </c:pt>
                <c:pt idx="13">
                  <c:v>79.307329999999993</c:v>
                </c:pt>
                <c:pt idx="14">
                  <c:v>78.01821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22 Psycholog ve zdravotnictví</c:v>
                </c:pt>
                <c:pt idx="14">
                  <c:v>§ 17 Dentální hygienistka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7 Ergoterapeut</c:v>
                </c:pt>
                <c:pt idx="18">
                  <c:v>§ 11 Optometrista</c:v>
                </c:pt>
                <c:pt idx="19">
                  <c:v>§ 23 Logoped ve zdravotnictví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6136</c:v>
                </c:pt>
                <c:pt idx="1">
                  <c:v>2972</c:v>
                </c:pt>
                <c:pt idx="2">
                  <c:v>2406</c:v>
                </c:pt>
                <c:pt idx="3">
                  <c:v>2214</c:v>
                </c:pt>
                <c:pt idx="4">
                  <c:v>1961</c:v>
                </c:pt>
                <c:pt idx="5">
                  <c:v>1334</c:v>
                </c:pt>
                <c:pt idx="6">
                  <c:v>1192</c:v>
                </c:pt>
                <c:pt idx="7">
                  <c:v>1062</c:v>
                </c:pt>
                <c:pt idx="8">
                  <c:v>911</c:v>
                </c:pt>
                <c:pt idx="9">
                  <c:v>898</c:v>
                </c:pt>
                <c:pt idx="10">
                  <c:v>732</c:v>
                </c:pt>
                <c:pt idx="11">
                  <c:v>571</c:v>
                </c:pt>
                <c:pt idx="12">
                  <c:v>463</c:v>
                </c:pt>
                <c:pt idx="13">
                  <c:v>454</c:v>
                </c:pt>
                <c:pt idx="14">
                  <c:v>423</c:v>
                </c:pt>
                <c:pt idx="15">
                  <c:v>317</c:v>
                </c:pt>
                <c:pt idx="16">
                  <c:v>264</c:v>
                </c:pt>
                <c:pt idx="17">
                  <c:v>263</c:v>
                </c:pt>
                <c:pt idx="18">
                  <c:v>260</c:v>
                </c:pt>
                <c:pt idx="19">
                  <c:v>240</c:v>
                </c:pt>
                <c:pt idx="20">
                  <c:v>233</c:v>
                </c:pt>
                <c:pt idx="21">
                  <c:v>232</c:v>
                </c:pt>
                <c:pt idx="22">
                  <c:v>122</c:v>
                </c:pt>
                <c:pt idx="23">
                  <c:v>75</c:v>
                </c:pt>
                <c:pt idx="24">
                  <c:v>63</c:v>
                </c:pt>
                <c:pt idx="25">
                  <c:v>60</c:v>
                </c:pt>
                <c:pt idx="26">
                  <c:v>46</c:v>
                </c:pt>
                <c:pt idx="27">
                  <c:v>41</c:v>
                </c:pt>
                <c:pt idx="28">
                  <c:v>35</c:v>
                </c:pt>
                <c:pt idx="29">
                  <c:v>28</c:v>
                </c:pt>
                <c:pt idx="30">
                  <c:v>19</c:v>
                </c:pt>
                <c:pt idx="31">
                  <c:v>13</c:v>
                </c:pt>
                <c:pt idx="32">
                  <c:v>12</c:v>
                </c:pt>
                <c:pt idx="33">
                  <c:v>6</c:v>
                </c:pt>
                <c:pt idx="34">
                  <c:v>5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23 Logoped ve zdravotnictví</c:v>
                </c:pt>
                <c:pt idx="18">
                  <c:v>§ 15 Nutriční terapeut</c:v>
                </c:pt>
                <c:pt idx="19">
                  <c:v>§ 11 Optometrista</c:v>
                </c:pt>
                <c:pt idx="20">
                  <c:v>§ 30 Laboratorní asistent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702</c:v>
                </c:pt>
                <c:pt idx="1">
                  <c:v>2039</c:v>
                </c:pt>
                <c:pt idx="2">
                  <c:v>1610</c:v>
                </c:pt>
                <c:pt idx="3">
                  <c:v>1568</c:v>
                </c:pt>
                <c:pt idx="4">
                  <c:v>1294</c:v>
                </c:pt>
                <c:pt idx="5">
                  <c:v>812</c:v>
                </c:pt>
                <c:pt idx="6">
                  <c:v>789</c:v>
                </c:pt>
                <c:pt idx="7">
                  <c:v>712</c:v>
                </c:pt>
                <c:pt idx="8">
                  <c:v>679</c:v>
                </c:pt>
                <c:pt idx="9">
                  <c:v>607</c:v>
                </c:pt>
                <c:pt idx="10">
                  <c:v>470</c:v>
                </c:pt>
                <c:pt idx="11">
                  <c:v>356</c:v>
                </c:pt>
                <c:pt idx="12">
                  <c:v>346</c:v>
                </c:pt>
                <c:pt idx="13">
                  <c:v>293</c:v>
                </c:pt>
                <c:pt idx="14">
                  <c:v>284</c:v>
                </c:pt>
                <c:pt idx="15">
                  <c:v>196</c:v>
                </c:pt>
                <c:pt idx="16">
                  <c:v>189</c:v>
                </c:pt>
                <c:pt idx="17">
                  <c:v>182</c:v>
                </c:pt>
                <c:pt idx="18">
                  <c:v>178</c:v>
                </c:pt>
                <c:pt idx="19">
                  <c:v>166</c:v>
                </c:pt>
                <c:pt idx="20">
                  <c:v>165</c:v>
                </c:pt>
                <c:pt idx="21">
                  <c:v>153</c:v>
                </c:pt>
                <c:pt idx="22">
                  <c:v>87</c:v>
                </c:pt>
                <c:pt idx="23">
                  <c:v>50</c:v>
                </c:pt>
                <c:pt idx="24">
                  <c:v>44</c:v>
                </c:pt>
                <c:pt idx="25">
                  <c:v>41</c:v>
                </c:pt>
                <c:pt idx="26">
                  <c:v>36</c:v>
                </c:pt>
                <c:pt idx="27">
                  <c:v>34</c:v>
                </c:pt>
                <c:pt idx="28">
                  <c:v>23</c:v>
                </c:pt>
                <c:pt idx="29">
                  <c:v>20</c:v>
                </c:pt>
                <c:pt idx="30">
                  <c:v>13</c:v>
                </c:pt>
                <c:pt idx="31">
                  <c:v>6</c:v>
                </c:pt>
                <c:pt idx="32">
                  <c:v>6</c:v>
                </c:pt>
                <c:pt idx="33">
                  <c:v>5</c:v>
                </c:pt>
                <c:pt idx="34">
                  <c:v>4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26 Odborný pracovník v laboratorních metodách a v přípravě léčivých přípravků</c:v>
                </c:pt>
                <c:pt idx="8">
                  <c:v>§ 39 Zubní instrumentářka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7 Ergoterapeut</c:v>
                </c:pt>
                <c:pt idx="16">
                  <c:v>§ 30 Laboratorní asistent</c:v>
                </c:pt>
                <c:pt idx="17">
                  <c:v>§ 37 Masér ve zdravotnictví, nevidomý a slabozraký masér ve zdravotnictví</c:v>
                </c:pt>
                <c:pt idx="18">
                  <c:v>§ 23 Logoped ve zdravotnictví</c:v>
                </c:pt>
                <c:pt idx="19">
                  <c:v>§ 15 Nutriční terapeut</c:v>
                </c:pt>
                <c:pt idx="20">
                  <c:v>§ 11 Optometrista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28 Odborný pracovník v ochraně a podpoře veřejného zdraví</c:v>
                </c:pt>
                <c:pt idx="24">
                  <c:v>§ 33 Asistent zubního technika</c:v>
                </c:pt>
                <c:pt idx="25">
                  <c:v>§ 13 Asistent ochrany a podpory veřejného zdraví</c:v>
                </c:pt>
                <c:pt idx="26">
                  <c:v>§ 21a Adiktolog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21 Radiologický technik</c:v>
                </c:pt>
                <c:pt idx="33">
                  <c:v>§ 32 Nutriční asistent</c:v>
                </c:pt>
                <c:pt idx="34">
                  <c:v>§ 23a Zrakový terapeut</c:v>
                </c:pt>
                <c:pt idx="35">
                  <c:v>§ 41 Autoptický laboran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2423</c:v>
                </c:pt>
                <c:pt idx="1">
                  <c:v>1303</c:v>
                </c:pt>
                <c:pt idx="2">
                  <c:v>1009</c:v>
                </c:pt>
                <c:pt idx="3">
                  <c:v>975</c:v>
                </c:pt>
                <c:pt idx="4">
                  <c:v>808</c:v>
                </c:pt>
                <c:pt idx="5">
                  <c:v>563</c:v>
                </c:pt>
                <c:pt idx="6">
                  <c:v>489</c:v>
                </c:pt>
                <c:pt idx="7">
                  <c:v>452</c:v>
                </c:pt>
                <c:pt idx="8">
                  <c:v>441</c:v>
                </c:pt>
                <c:pt idx="9">
                  <c:v>412</c:v>
                </c:pt>
                <c:pt idx="10">
                  <c:v>290</c:v>
                </c:pt>
                <c:pt idx="11">
                  <c:v>250</c:v>
                </c:pt>
                <c:pt idx="12">
                  <c:v>224</c:v>
                </c:pt>
                <c:pt idx="13">
                  <c:v>195</c:v>
                </c:pt>
                <c:pt idx="14">
                  <c:v>192</c:v>
                </c:pt>
                <c:pt idx="15">
                  <c:v>125</c:v>
                </c:pt>
                <c:pt idx="16">
                  <c:v>118</c:v>
                </c:pt>
                <c:pt idx="17">
                  <c:v>115</c:v>
                </c:pt>
                <c:pt idx="18">
                  <c:v>110</c:v>
                </c:pt>
                <c:pt idx="19">
                  <c:v>107</c:v>
                </c:pt>
                <c:pt idx="20">
                  <c:v>101</c:v>
                </c:pt>
                <c:pt idx="21">
                  <c:v>100</c:v>
                </c:pt>
                <c:pt idx="22">
                  <c:v>56</c:v>
                </c:pt>
                <c:pt idx="23">
                  <c:v>31</c:v>
                </c:pt>
                <c:pt idx="24">
                  <c:v>31</c:v>
                </c:pt>
                <c:pt idx="25">
                  <c:v>25</c:v>
                </c:pt>
                <c:pt idx="26">
                  <c:v>24</c:v>
                </c:pt>
                <c:pt idx="27">
                  <c:v>24</c:v>
                </c:pt>
                <c:pt idx="28">
                  <c:v>17</c:v>
                </c:pt>
                <c:pt idx="29">
                  <c:v>15</c:v>
                </c:pt>
                <c:pt idx="30">
                  <c:v>8</c:v>
                </c:pt>
                <c:pt idx="31">
                  <c:v>5</c:v>
                </c:pt>
                <c:pt idx="32">
                  <c:v>4</c:v>
                </c:pt>
                <c:pt idx="33">
                  <c:v>3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0.09.21</c:v>
                </c:pt>
                <c:pt idx="1">
                  <c:v>11.09.21</c:v>
                </c:pt>
                <c:pt idx="2">
                  <c:v>12.09.21</c:v>
                </c:pt>
                <c:pt idx="3">
                  <c:v>13.09.21</c:v>
                </c:pt>
                <c:pt idx="4">
                  <c:v>14.09.21</c:v>
                </c:pt>
                <c:pt idx="5">
                  <c:v>15.09.21</c:v>
                </c:pt>
                <c:pt idx="6">
                  <c:v>16.09.21</c:v>
                </c:pt>
                <c:pt idx="7">
                  <c:v>17.09.21</c:v>
                </c:pt>
                <c:pt idx="8">
                  <c:v>18.09.21</c:v>
                </c:pt>
                <c:pt idx="9">
                  <c:v>19.09.21</c:v>
                </c:pt>
                <c:pt idx="10">
                  <c:v>20.09.21</c:v>
                </c:pt>
                <c:pt idx="11">
                  <c:v>21.09.21</c:v>
                </c:pt>
                <c:pt idx="12">
                  <c:v>22.09.21</c:v>
                </c:pt>
                <c:pt idx="13">
                  <c:v>23.09.21</c:v>
                </c:pt>
                <c:pt idx="14">
                  <c:v>24.09.21</c:v>
                </c:pt>
                <c:pt idx="15">
                  <c:v>25.09.21</c:v>
                </c:pt>
                <c:pt idx="16">
                  <c:v>26.09.21</c:v>
                </c:pt>
                <c:pt idx="17">
                  <c:v>27.09.21</c:v>
                </c:pt>
                <c:pt idx="18">
                  <c:v>28.09.21</c:v>
                </c:pt>
                <c:pt idx="19">
                  <c:v>29.09.21</c:v>
                </c:pt>
                <c:pt idx="20">
                  <c:v>30.09.21</c:v>
                </c:pt>
                <c:pt idx="21">
                  <c:v>01.10.21</c:v>
                </c:pt>
                <c:pt idx="22">
                  <c:v>02.10.21</c:v>
                </c:pt>
                <c:pt idx="23">
                  <c:v>03.10.21</c:v>
                </c:pt>
                <c:pt idx="24">
                  <c:v>04.10.21</c:v>
                </c:pt>
                <c:pt idx="25">
                  <c:v>05.10.21</c:v>
                </c:pt>
                <c:pt idx="26">
                  <c:v>06.10.21</c:v>
                </c:pt>
                <c:pt idx="27">
                  <c:v>07.10.21</c:v>
                </c:pt>
                <c:pt idx="28">
                  <c:v>08.10.21</c:v>
                </c:pt>
                <c:pt idx="29">
                  <c:v>09.10.21</c:v>
                </c:pt>
                <c:pt idx="30">
                  <c:v>10.10.21</c:v>
                </c:pt>
                <c:pt idx="31">
                  <c:v>11.10.21</c:v>
                </c:pt>
                <c:pt idx="32">
                  <c:v>12.10.21</c:v>
                </c:pt>
                <c:pt idx="33">
                  <c:v>13.10.21</c:v>
                </c:pt>
                <c:pt idx="34">
                  <c:v>14.10.21</c:v>
                </c:pt>
                <c:pt idx="35">
                  <c:v>15.10.21</c:v>
                </c:pt>
                <c:pt idx="36">
                  <c:v>16.10.21</c:v>
                </c:pt>
                <c:pt idx="37">
                  <c:v>17.10.21</c:v>
                </c:pt>
                <c:pt idx="38">
                  <c:v>18.10.21</c:v>
                </c:pt>
                <c:pt idx="39">
                  <c:v>19.10.21</c:v>
                </c:pt>
                <c:pt idx="40">
                  <c:v>20.10.21</c:v>
                </c:pt>
                <c:pt idx="41">
                  <c:v>21.10.21</c:v>
                </c:pt>
                <c:pt idx="42">
                  <c:v>22.10.21</c:v>
                </c:pt>
                <c:pt idx="43">
                  <c:v>23.10.21</c:v>
                </c:pt>
                <c:pt idx="44">
                  <c:v>24.10.21</c:v>
                </c:pt>
                <c:pt idx="45">
                  <c:v>25.10.21</c:v>
                </c:pt>
                <c:pt idx="46">
                  <c:v>26.10.21</c:v>
                </c:pt>
                <c:pt idx="47">
                  <c:v>27.10.21</c:v>
                </c:pt>
                <c:pt idx="48">
                  <c:v>28.10.21</c:v>
                </c:pt>
                <c:pt idx="49">
                  <c:v>29.10.21</c:v>
                </c:pt>
                <c:pt idx="50">
                  <c:v>30.10.21</c:v>
                </c:pt>
                <c:pt idx="51">
                  <c:v>31.10.21</c:v>
                </c:pt>
                <c:pt idx="52">
                  <c:v>01.11.21</c:v>
                </c:pt>
                <c:pt idx="53">
                  <c:v>02.11.21</c:v>
                </c:pt>
                <c:pt idx="54">
                  <c:v>03.11.21</c:v>
                </c:pt>
                <c:pt idx="55">
                  <c:v>04.11.21</c:v>
                </c:pt>
                <c:pt idx="56">
                  <c:v>05.11.21</c:v>
                </c:pt>
                <c:pt idx="57">
                  <c:v>06.11.21</c:v>
                </c:pt>
                <c:pt idx="58">
                  <c:v>07.11.21</c:v>
                </c:pt>
                <c:pt idx="59">
                  <c:v>08.11.21</c:v>
                </c:pt>
                <c:pt idx="60">
                  <c:v>09.11.21</c:v>
                </c:pt>
                <c:pt idx="61">
                  <c:v>10.11.21</c:v>
                </c:pt>
                <c:pt idx="62">
                  <c:v>11.11.21</c:v>
                </c:pt>
                <c:pt idx="63">
                  <c:v>12.11.21</c:v>
                </c:pt>
                <c:pt idx="64">
                  <c:v>13.11.21</c:v>
                </c:pt>
                <c:pt idx="65">
                  <c:v>14.11.21</c:v>
                </c:pt>
                <c:pt idx="66">
                  <c:v>15.11.21</c:v>
                </c:pt>
                <c:pt idx="67">
                  <c:v>16.11.21</c:v>
                </c:pt>
                <c:pt idx="68">
                  <c:v>17.11.21</c:v>
                </c:pt>
                <c:pt idx="69">
                  <c:v>18.11.21</c:v>
                </c:pt>
                <c:pt idx="70">
                  <c:v>19.11.21</c:v>
                </c:pt>
                <c:pt idx="71">
                  <c:v>20.11.21</c:v>
                </c:pt>
                <c:pt idx="72">
                  <c:v>21.11.21</c:v>
                </c:pt>
                <c:pt idx="73">
                  <c:v>22.11.21</c:v>
                </c:pt>
                <c:pt idx="74">
                  <c:v>23.11.21</c:v>
                </c:pt>
                <c:pt idx="75">
                  <c:v>24.11.21</c:v>
                </c:pt>
                <c:pt idx="76">
                  <c:v>25.11.21</c:v>
                </c:pt>
                <c:pt idx="77">
                  <c:v>26.11.21</c:v>
                </c:pt>
                <c:pt idx="78">
                  <c:v>27.11.21</c:v>
                </c:pt>
                <c:pt idx="79">
                  <c:v>28.11.21</c:v>
                </c:pt>
                <c:pt idx="80">
                  <c:v>29.11.21</c:v>
                </c:pt>
                <c:pt idx="81">
                  <c:v>30.11.21</c:v>
                </c:pt>
                <c:pt idx="82">
                  <c:v>01.12.21</c:v>
                </c:pt>
                <c:pt idx="83">
                  <c:v>02.12.21</c:v>
                </c:pt>
                <c:pt idx="84">
                  <c:v>03.12.21</c:v>
                </c:pt>
                <c:pt idx="85">
                  <c:v>04.12.21</c:v>
                </c:pt>
                <c:pt idx="86">
                  <c:v>05.12.21</c:v>
                </c:pt>
                <c:pt idx="87">
                  <c:v>06.12.21</c:v>
                </c:pt>
                <c:pt idx="88">
                  <c:v>07.12.21</c:v>
                </c:pt>
                <c:pt idx="89">
                  <c:v>08.12.21</c:v>
                </c:pt>
                <c:pt idx="90">
                  <c:v>09.12.21</c:v>
                </c:pt>
                <c:pt idx="91">
                  <c:v>10.12.21</c:v>
                </c:pt>
                <c:pt idx="92">
                  <c:v>11.12.21</c:v>
                </c:pt>
                <c:pt idx="93">
                  <c:v>12.12.21</c:v>
                </c:pt>
                <c:pt idx="94">
                  <c:v>13.12.21</c:v>
                </c:pt>
                <c:pt idx="95">
                  <c:v>14.12.21</c:v>
                </c:pt>
                <c:pt idx="96">
                  <c:v>15.12.21</c:v>
                </c:pt>
                <c:pt idx="97">
                  <c:v>16.12.21</c:v>
                </c:pt>
                <c:pt idx="98">
                  <c:v>17.12.21</c:v>
                </c:pt>
                <c:pt idx="99">
                  <c:v>18.12.21</c:v>
                </c:pt>
                <c:pt idx="100">
                  <c:v>19.12.21</c:v>
                </c:pt>
                <c:pt idx="101">
                  <c:v>20.12.21</c:v>
                </c:pt>
                <c:pt idx="102">
                  <c:v>21.12.21</c:v>
                </c:pt>
                <c:pt idx="103">
                  <c:v>22.12.21</c:v>
                </c:pt>
                <c:pt idx="104">
                  <c:v>23.12.21</c:v>
                </c:pt>
                <c:pt idx="105">
                  <c:v>24.12.21</c:v>
                </c:pt>
                <c:pt idx="106">
                  <c:v>25.12.21</c:v>
                </c:pt>
                <c:pt idx="107">
                  <c:v>26.12.21</c:v>
                </c:pt>
                <c:pt idx="108">
                  <c:v>27.12.21</c:v>
                </c:pt>
                <c:pt idx="109">
                  <c:v>28.12.21</c:v>
                </c:pt>
                <c:pt idx="110">
                  <c:v>29.12.21</c:v>
                </c:pt>
                <c:pt idx="111">
                  <c:v>30.12.21</c:v>
                </c:pt>
                <c:pt idx="112">
                  <c:v>31.12.21</c:v>
                </c:pt>
                <c:pt idx="113">
                  <c:v>01.01.22</c:v>
                </c:pt>
                <c:pt idx="114">
                  <c:v>02.01.22</c:v>
                </c:pt>
                <c:pt idx="115">
                  <c:v>03.01.22</c:v>
                </c:pt>
                <c:pt idx="116">
                  <c:v>04.01.22</c:v>
                </c:pt>
                <c:pt idx="117">
                  <c:v>05.01.22</c:v>
                </c:pt>
                <c:pt idx="118">
                  <c:v>06.01.22</c:v>
                </c:pt>
                <c:pt idx="119">
                  <c:v>07.01.22</c:v>
                </c:pt>
                <c:pt idx="120">
                  <c:v>08.01.22</c:v>
                </c:pt>
                <c:pt idx="121">
                  <c:v>09.01.22</c:v>
                </c:pt>
                <c:pt idx="122">
                  <c:v>10.01.22</c:v>
                </c:pt>
                <c:pt idx="123">
                  <c:v>11.01.22</c:v>
                </c:pt>
                <c:pt idx="124">
                  <c:v>12.01.22</c:v>
                </c:pt>
                <c:pt idx="125">
                  <c:v>13.01.22</c:v>
                </c:pt>
                <c:pt idx="126">
                  <c:v>14.01.22</c:v>
                </c:pt>
                <c:pt idx="127">
                  <c:v>15.01.22</c:v>
                </c:pt>
                <c:pt idx="128">
                  <c:v>16.01.22</c:v>
                </c:pt>
                <c:pt idx="129">
                  <c:v>17.01.22</c:v>
                </c:pt>
                <c:pt idx="130">
                  <c:v>18.01.22</c:v>
                </c:pt>
                <c:pt idx="131">
                  <c:v>19.01.22</c:v>
                </c:pt>
                <c:pt idx="132">
                  <c:v>20.01.22</c:v>
                </c:pt>
                <c:pt idx="133">
                  <c:v>21.01.22</c:v>
                </c:pt>
                <c:pt idx="134">
                  <c:v>22.01.22</c:v>
                </c:pt>
                <c:pt idx="135">
                  <c:v>23.01.22</c:v>
                </c:pt>
                <c:pt idx="136">
                  <c:v>24.01.22</c:v>
                </c:pt>
                <c:pt idx="137">
                  <c:v>25.01.22</c:v>
                </c:pt>
                <c:pt idx="138">
                  <c:v>26.01.22</c:v>
                </c:pt>
                <c:pt idx="139">
                  <c:v>27.01.22</c:v>
                </c:pt>
                <c:pt idx="140">
                  <c:v>28.01.22</c:v>
                </c:pt>
                <c:pt idx="141">
                  <c:v>29.01.22</c:v>
                </c:pt>
                <c:pt idx="142">
                  <c:v>30.01.22</c:v>
                </c:pt>
                <c:pt idx="143">
                  <c:v>31.01.22</c:v>
                </c:pt>
                <c:pt idx="144">
                  <c:v>01.02.22</c:v>
                </c:pt>
                <c:pt idx="145">
                  <c:v>02.02.22</c:v>
                </c:pt>
                <c:pt idx="146">
                  <c:v>03.02.22</c:v>
                </c:pt>
                <c:pt idx="147">
                  <c:v>04.02.22</c:v>
                </c:pt>
                <c:pt idx="148">
                  <c:v>05.02.22</c:v>
                </c:pt>
                <c:pt idx="149">
                  <c:v>06.02.22</c:v>
                </c:pt>
                <c:pt idx="150">
                  <c:v>07.02.22</c:v>
                </c:pt>
                <c:pt idx="151">
                  <c:v>08.02.22</c:v>
                </c:pt>
                <c:pt idx="152">
                  <c:v>09.02.22</c:v>
                </c:pt>
                <c:pt idx="153">
                  <c:v>10.02.22</c:v>
                </c:pt>
                <c:pt idx="154">
                  <c:v>11.02.22</c:v>
                </c:pt>
                <c:pt idx="155">
                  <c:v>12.02.22</c:v>
                </c:pt>
                <c:pt idx="156">
                  <c:v>13.02.22</c:v>
                </c:pt>
                <c:pt idx="157">
                  <c:v>14.02.22</c:v>
                </c:pt>
                <c:pt idx="158">
                  <c:v>15.02.22</c:v>
                </c:pt>
                <c:pt idx="159">
                  <c:v>16.02.22</c:v>
                </c:pt>
                <c:pt idx="160">
                  <c:v>17.02.22</c:v>
                </c:pt>
                <c:pt idx="161">
                  <c:v>18.02.22</c:v>
                </c:pt>
                <c:pt idx="162">
                  <c:v>19.02.22</c:v>
                </c:pt>
                <c:pt idx="163">
                  <c:v>20.02.22</c:v>
                </c:pt>
                <c:pt idx="164">
                  <c:v>21.02.22</c:v>
                </c:pt>
                <c:pt idx="165">
                  <c:v>22.02.22</c:v>
                </c:pt>
                <c:pt idx="166">
                  <c:v>23.02.22</c:v>
                </c:pt>
                <c:pt idx="167">
                  <c:v>24.02.22</c:v>
                </c:pt>
                <c:pt idx="168">
                  <c:v>25.02.22</c:v>
                </c:pt>
                <c:pt idx="169">
                  <c:v>26.02.22</c:v>
                </c:pt>
                <c:pt idx="170">
                  <c:v>27.02.22</c:v>
                </c:pt>
                <c:pt idx="171">
                  <c:v>28.02.22</c:v>
                </c:pt>
                <c:pt idx="172">
                  <c:v>01.03.22</c:v>
                </c:pt>
                <c:pt idx="173">
                  <c:v>02.03.22</c:v>
                </c:pt>
                <c:pt idx="174">
                  <c:v>03.03.22</c:v>
                </c:pt>
                <c:pt idx="175">
                  <c:v>04.03.22</c:v>
                </c:pt>
                <c:pt idx="176">
                  <c:v>05.03.22</c:v>
                </c:pt>
                <c:pt idx="177">
                  <c:v>06.03.22</c:v>
                </c:pt>
                <c:pt idx="178">
                  <c:v>07.03.22</c:v>
                </c:pt>
                <c:pt idx="179">
                  <c:v>08.03.22</c:v>
                </c:pt>
                <c:pt idx="180">
                  <c:v>09.03.22</c:v>
                </c:pt>
                <c:pt idx="181">
                  <c:v>10.03.22</c:v>
                </c:pt>
                <c:pt idx="182">
                  <c:v>11.03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3</c:v>
                </c:pt>
                <c:pt idx="1">
                  <c:v>3</c:v>
                </c:pt>
                <c:pt idx="2">
                  <c:v>0</c:v>
                </c:pt>
                <c:pt idx="3">
                  <c:v>4</c:v>
                </c:pt>
                <c:pt idx="4">
                  <c:v>2</c:v>
                </c:pt>
                <c:pt idx="5">
                  <c:v>0</c:v>
                </c:pt>
                <c:pt idx="6">
                  <c:v>1</c:v>
                </c:pt>
                <c:pt idx="7">
                  <c:v>2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3</c:v>
                </c:pt>
                <c:pt idx="12">
                  <c:v>3</c:v>
                </c:pt>
                <c:pt idx="13">
                  <c:v>2</c:v>
                </c:pt>
                <c:pt idx="14">
                  <c:v>3</c:v>
                </c:pt>
                <c:pt idx="15">
                  <c:v>0</c:v>
                </c:pt>
                <c:pt idx="16">
                  <c:v>2</c:v>
                </c:pt>
                <c:pt idx="17">
                  <c:v>6</c:v>
                </c:pt>
                <c:pt idx="18">
                  <c:v>4</c:v>
                </c:pt>
                <c:pt idx="19">
                  <c:v>3</c:v>
                </c:pt>
                <c:pt idx="20">
                  <c:v>9</c:v>
                </c:pt>
                <c:pt idx="21">
                  <c:v>2</c:v>
                </c:pt>
                <c:pt idx="22">
                  <c:v>5</c:v>
                </c:pt>
                <c:pt idx="23">
                  <c:v>1</c:v>
                </c:pt>
                <c:pt idx="24">
                  <c:v>0</c:v>
                </c:pt>
                <c:pt idx="25">
                  <c:v>2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1</c:v>
                </c:pt>
                <c:pt idx="30">
                  <c:v>1</c:v>
                </c:pt>
                <c:pt idx="31">
                  <c:v>3</c:v>
                </c:pt>
                <c:pt idx="32">
                  <c:v>10</c:v>
                </c:pt>
                <c:pt idx="33">
                  <c:v>7</c:v>
                </c:pt>
                <c:pt idx="34">
                  <c:v>7</c:v>
                </c:pt>
                <c:pt idx="35">
                  <c:v>6</c:v>
                </c:pt>
                <c:pt idx="36">
                  <c:v>5</c:v>
                </c:pt>
                <c:pt idx="37">
                  <c:v>8</c:v>
                </c:pt>
                <c:pt idx="38">
                  <c:v>17</c:v>
                </c:pt>
                <c:pt idx="39">
                  <c:v>16</c:v>
                </c:pt>
                <c:pt idx="40">
                  <c:v>13</c:v>
                </c:pt>
                <c:pt idx="41">
                  <c:v>13</c:v>
                </c:pt>
                <c:pt idx="42">
                  <c:v>16</c:v>
                </c:pt>
                <c:pt idx="43">
                  <c:v>13</c:v>
                </c:pt>
                <c:pt idx="44">
                  <c:v>12</c:v>
                </c:pt>
                <c:pt idx="45">
                  <c:v>28</c:v>
                </c:pt>
                <c:pt idx="46">
                  <c:v>20</c:v>
                </c:pt>
                <c:pt idx="47">
                  <c:v>25</c:v>
                </c:pt>
                <c:pt idx="48">
                  <c:v>22</c:v>
                </c:pt>
                <c:pt idx="49">
                  <c:v>36</c:v>
                </c:pt>
                <c:pt idx="50">
                  <c:v>21</c:v>
                </c:pt>
                <c:pt idx="51">
                  <c:v>18</c:v>
                </c:pt>
                <c:pt idx="52">
                  <c:v>55</c:v>
                </c:pt>
                <c:pt idx="53">
                  <c:v>37</c:v>
                </c:pt>
                <c:pt idx="54">
                  <c:v>38</c:v>
                </c:pt>
                <c:pt idx="55">
                  <c:v>27</c:v>
                </c:pt>
                <c:pt idx="56">
                  <c:v>40</c:v>
                </c:pt>
                <c:pt idx="57">
                  <c:v>20</c:v>
                </c:pt>
                <c:pt idx="58">
                  <c:v>18</c:v>
                </c:pt>
                <c:pt idx="59">
                  <c:v>52</c:v>
                </c:pt>
                <c:pt idx="60">
                  <c:v>47</c:v>
                </c:pt>
                <c:pt idx="61">
                  <c:v>47</c:v>
                </c:pt>
                <c:pt idx="62">
                  <c:v>49</c:v>
                </c:pt>
                <c:pt idx="63">
                  <c:v>41</c:v>
                </c:pt>
                <c:pt idx="64">
                  <c:v>48</c:v>
                </c:pt>
                <c:pt idx="65">
                  <c:v>22</c:v>
                </c:pt>
                <c:pt idx="66">
                  <c:v>63</c:v>
                </c:pt>
                <c:pt idx="67">
                  <c:v>56</c:v>
                </c:pt>
                <c:pt idx="68">
                  <c:v>43</c:v>
                </c:pt>
                <c:pt idx="69">
                  <c:v>53</c:v>
                </c:pt>
                <c:pt idx="70">
                  <c:v>77</c:v>
                </c:pt>
                <c:pt idx="71">
                  <c:v>46</c:v>
                </c:pt>
                <c:pt idx="72">
                  <c:v>32</c:v>
                </c:pt>
                <c:pt idx="73">
                  <c:v>61</c:v>
                </c:pt>
                <c:pt idx="74">
                  <c:v>69</c:v>
                </c:pt>
                <c:pt idx="75">
                  <c:v>41</c:v>
                </c:pt>
                <c:pt idx="76">
                  <c:v>66</c:v>
                </c:pt>
                <c:pt idx="77">
                  <c:v>51</c:v>
                </c:pt>
                <c:pt idx="78">
                  <c:v>35</c:v>
                </c:pt>
                <c:pt idx="79">
                  <c:v>38</c:v>
                </c:pt>
                <c:pt idx="80">
                  <c:v>57</c:v>
                </c:pt>
                <c:pt idx="81">
                  <c:v>45</c:v>
                </c:pt>
                <c:pt idx="82">
                  <c:v>56</c:v>
                </c:pt>
                <c:pt idx="83">
                  <c:v>40</c:v>
                </c:pt>
                <c:pt idx="84">
                  <c:v>50</c:v>
                </c:pt>
                <c:pt idx="85">
                  <c:v>24</c:v>
                </c:pt>
                <c:pt idx="86">
                  <c:v>15</c:v>
                </c:pt>
                <c:pt idx="87">
                  <c:v>45</c:v>
                </c:pt>
                <c:pt idx="88">
                  <c:v>40</c:v>
                </c:pt>
                <c:pt idx="89">
                  <c:v>30</c:v>
                </c:pt>
                <c:pt idx="90">
                  <c:v>30</c:v>
                </c:pt>
                <c:pt idx="91">
                  <c:v>33</c:v>
                </c:pt>
                <c:pt idx="92">
                  <c:v>19</c:v>
                </c:pt>
                <c:pt idx="93">
                  <c:v>11</c:v>
                </c:pt>
                <c:pt idx="94">
                  <c:v>28</c:v>
                </c:pt>
                <c:pt idx="95">
                  <c:v>25</c:v>
                </c:pt>
                <c:pt idx="96">
                  <c:v>24</c:v>
                </c:pt>
                <c:pt idx="97">
                  <c:v>16</c:v>
                </c:pt>
                <c:pt idx="98">
                  <c:v>22</c:v>
                </c:pt>
                <c:pt idx="99">
                  <c:v>19</c:v>
                </c:pt>
                <c:pt idx="100">
                  <c:v>15</c:v>
                </c:pt>
                <c:pt idx="101">
                  <c:v>27</c:v>
                </c:pt>
                <c:pt idx="102">
                  <c:v>27</c:v>
                </c:pt>
                <c:pt idx="103">
                  <c:v>21</c:v>
                </c:pt>
                <c:pt idx="104">
                  <c:v>23</c:v>
                </c:pt>
                <c:pt idx="105">
                  <c:v>4</c:v>
                </c:pt>
                <c:pt idx="106">
                  <c:v>11</c:v>
                </c:pt>
                <c:pt idx="107">
                  <c:v>8</c:v>
                </c:pt>
                <c:pt idx="108">
                  <c:v>25</c:v>
                </c:pt>
                <c:pt idx="109">
                  <c:v>32</c:v>
                </c:pt>
                <c:pt idx="110">
                  <c:v>23</c:v>
                </c:pt>
                <c:pt idx="111">
                  <c:v>20</c:v>
                </c:pt>
                <c:pt idx="112">
                  <c:v>19</c:v>
                </c:pt>
                <c:pt idx="113">
                  <c:v>6</c:v>
                </c:pt>
                <c:pt idx="114">
                  <c:v>24</c:v>
                </c:pt>
                <c:pt idx="115">
                  <c:v>33</c:v>
                </c:pt>
                <c:pt idx="116">
                  <c:v>26</c:v>
                </c:pt>
                <c:pt idx="117">
                  <c:v>20</c:v>
                </c:pt>
                <c:pt idx="118">
                  <c:v>25</c:v>
                </c:pt>
                <c:pt idx="119">
                  <c:v>18</c:v>
                </c:pt>
                <c:pt idx="120">
                  <c:v>17</c:v>
                </c:pt>
                <c:pt idx="121">
                  <c:v>13</c:v>
                </c:pt>
                <c:pt idx="122">
                  <c:v>32</c:v>
                </c:pt>
                <c:pt idx="123">
                  <c:v>46</c:v>
                </c:pt>
                <c:pt idx="124">
                  <c:v>70</c:v>
                </c:pt>
                <c:pt idx="125">
                  <c:v>38</c:v>
                </c:pt>
                <c:pt idx="126">
                  <c:v>45</c:v>
                </c:pt>
                <c:pt idx="127">
                  <c:v>31</c:v>
                </c:pt>
                <c:pt idx="128">
                  <c:v>41</c:v>
                </c:pt>
                <c:pt idx="129">
                  <c:v>109</c:v>
                </c:pt>
                <c:pt idx="130">
                  <c:v>86</c:v>
                </c:pt>
                <c:pt idx="131">
                  <c:v>113</c:v>
                </c:pt>
                <c:pt idx="132">
                  <c:v>109</c:v>
                </c:pt>
                <c:pt idx="133">
                  <c:v>88</c:v>
                </c:pt>
                <c:pt idx="134">
                  <c:v>57</c:v>
                </c:pt>
                <c:pt idx="135">
                  <c:v>70</c:v>
                </c:pt>
                <c:pt idx="136">
                  <c:v>175</c:v>
                </c:pt>
                <c:pt idx="137">
                  <c:v>155</c:v>
                </c:pt>
                <c:pt idx="138">
                  <c:v>167</c:v>
                </c:pt>
                <c:pt idx="139">
                  <c:v>121</c:v>
                </c:pt>
                <c:pt idx="140">
                  <c:v>149</c:v>
                </c:pt>
                <c:pt idx="141">
                  <c:v>58</c:v>
                </c:pt>
                <c:pt idx="142">
                  <c:v>100</c:v>
                </c:pt>
                <c:pt idx="143">
                  <c:v>166</c:v>
                </c:pt>
                <c:pt idx="144">
                  <c:v>191</c:v>
                </c:pt>
                <c:pt idx="145">
                  <c:v>144</c:v>
                </c:pt>
                <c:pt idx="146">
                  <c:v>123</c:v>
                </c:pt>
                <c:pt idx="147">
                  <c:v>112</c:v>
                </c:pt>
                <c:pt idx="148">
                  <c:v>74</c:v>
                </c:pt>
                <c:pt idx="149">
                  <c:v>51</c:v>
                </c:pt>
                <c:pt idx="150">
                  <c:v>124</c:v>
                </c:pt>
                <c:pt idx="151">
                  <c:v>112</c:v>
                </c:pt>
                <c:pt idx="152">
                  <c:v>91</c:v>
                </c:pt>
                <c:pt idx="153">
                  <c:v>89</c:v>
                </c:pt>
                <c:pt idx="154">
                  <c:v>88</c:v>
                </c:pt>
                <c:pt idx="155">
                  <c:v>42</c:v>
                </c:pt>
                <c:pt idx="156">
                  <c:v>39</c:v>
                </c:pt>
                <c:pt idx="157">
                  <c:v>126</c:v>
                </c:pt>
                <c:pt idx="158">
                  <c:v>81</c:v>
                </c:pt>
                <c:pt idx="159">
                  <c:v>77</c:v>
                </c:pt>
                <c:pt idx="160">
                  <c:v>60</c:v>
                </c:pt>
                <c:pt idx="161">
                  <c:v>60</c:v>
                </c:pt>
                <c:pt idx="162">
                  <c:v>37</c:v>
                </c:pt>
                <c:pt idx="163">
                  <c:v>33</c:v>
                </c:pt>
                <c:pt idx="164">
                  <c:v>66</c:v>
                </c:pt>
                <c:pt idx="165">
                  <c:v>51</c:v>
                </c:pt>
                <c:pt idx="166">
                  <c:v>48</c:v>
                </c:pt>
                <c:pt idx="167">
                  <c:v>44</c:v>
                </c:pt>
                <c:pt idx="168">
                  <c:v>37</c:v>
                </c:pt>
                <c:pt idx="169">
                  <c:v>28</c:v>
                </c:pt>
                <c:pt idx="170">
                  <c:v>31</c:v>
                </c:pt>
                <c:pt idx="171">
                  <c:v>67</c:v>
                </c:pt>
                <c:pt idx="172">
                  <c:v>42</c:v>
                </c:pt>
                <c:pt idx="173">
                  <c:v>54</c:v>
                </c:pt>
                <c:pt idx="174">
                  <c:v>41</c:v>
                </c:pt>
                <c:pt idx="175">
                  <c:v>39</c:v>
                </c:pt>
                <c:pt idx="176">
                  <c:v>28</c:v>
                </c:pt>
                <c:pt idx="177">
                  <c:v>23</c:v>
                </c:pt>
                <c:pt idx="178">
                  <c:v>75</c:v>
                </c:pt>
                <c:pt idx="179">
                  <c:v>59</c:v>
                </c:pt>
                <c:pt idx="180">
                  <c:v>51</c:v>
                </c:pt>
                <c:pt idx="181">
                  <c:v>43</c:v>
                </c:pt>
                <c:pt idx="182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6.9898053688695042E-8"/>
                  <c:y val="-2.09814131034362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0.09.21</c:v>
                </c:pt>
                <c:pt idx="1">
                  <c:v>11.09.21</c:v>
                </c:pt>
                <c:pt idx="2">
                  <c:v>12.09.21</c:v>
                </c:pt>
                <c:pt idx="3">
                  <c:v>13.09.21</c:v>
                </c:pt>
                <c:pt idx="4">
                  <c:v>14.09.21</c:v>
                </c:pt>
                <c:pt idx="5">
                  <c:v>15.09.21</c:v>
                </c:pt>
                <c:pt idx="6">
                  <c:v>16.09.21</c:v>
                </c:pt>
                <c:pt idx="7">
                  <c:v>17.09.21</c:v>
                </c:pt>
                <c:pt idx="8">
                  <c:v>18.09.21</c:v>
                </c:pt>
                <c:pt idx="9">
                  <c:v>19.09.21</c:v>
                </c:pt>
                <c:pt idx="10">
                  <c:v>20.09.21</c:v>
                </c:pt>
                <c:pt idx="11">
                  <c:v>21.09.21</c:v>
                </c:pt>
                <c:pt idx="12">
                  <c:v>22.09.21</c:v>
                </c:pt>
                <c:pt idx="13">
                  <c:v>23.09.21</c:v>
                </c:pt>
                <c:pt idx="14">
                  <c:v>24.09.21</c:v>
                </c:pt>
                <c:pt idx="15">
                  <c:v>25.09.21</c:v>
                </c:pt>
                <c:pt idx="16">
                  <c:v>26.09.21</c:v>
                </c:pt>
                <c:pt idx="17">
                  <c:v>27.09.21</c:v>
                </c:pt>
                <c:pt idx="18">
                  <c:v>28.09.21</c:v>
                </c:pt>
                <c:pt idx="19">
                  <c:v>29.09.21</c:v>
                </c:pt>
                <c:pt idx="20">
                  <c:v>30.09.21</c:v>
                </c:pt>
                <c:pt idx="21">
                  <c:v>01.10.21</c:v>
                </c:pt>
                <c:pt idx="22">
                  <c:v>02.10.21</c:v>
                </c:pt>
                <c:pt idx="23">
                  <c:v>03.10.21</c:v>
                </c:pt>
                <c:pt idx="24">
                  <c:v>04.10.21</c:v>
                </c:pt>
                <c:pt idx="25">
                  <c:v>05.10.21</c:v>
                </c:pt>
                <c:pt idx="26">
                  <c:v>06.10.21</c:v>
                </c:pt>
                <c:pt idx="27">
                  <c:v>07.10.21</c:v>
                </c:pt>
                <c:pt idx="28">
                  <c:v>08.10.21</c:v>
                </c:pt>
                <c:pt idx="29">
                  <c:v>09.10.21</c:v>
                </c:pt>
                <c:pt idx="30">
                  <c:v>10.10.21</c:v>
                </c:pt>
                <c:pt idx="31">
                  <c:v>11.10.21</c:v>
                </c:pt>
                <c:pt idx="32">
                  <c:v>12.10.21</c:v>
                </c:pt>
                <c:pt idx="33">
                  <c:v>13.10.21</c:v>
                </c:pt>
                <c:pt idx="34">
                  <c:v>14.10.21</c:v>
                </c:pt>
                <c:pt idx="35">
                  <c:v>15.10.21</c:v>
                </c:pt>
                <c:pt idx="36">
                  <c:v>16.10.21</c:v>
                </c:pt>
                <c:pt idx="37">
                  <c:v>17.10.21</c:v>
                </c:pt>
                <c:pt idx="38">
                  <c:v>18.10.21</c:v>
                </c:pt>
                <c:pt idx="39">
                  <c:v>19.10.21</c:v>
                </c:pt>
                <c:pt idx="40">
                  <c:v>20.10.21</c:v>
                </c:pt>
                <c:pt idx="41">
                  <c:v>21.10.21</c:v>
                </c:pt>
                <c:pt idx="42">
                  <c:v>22.10.21</c:v>
                </c:pt>
                <c:pt idx="43">
                  <c:v>23.10.21</c:v>
                </c:pt>
                <c:pt idx="44">
                  <c:v>24.10.21</c:v>
                </c:pt>
                <c:pt idx="45">
                  <c:v>25.10.21</c:v>
                </c:pt>
                <c:pt idx="46">
                  <c:v>26.10.21</c:v>
                </c:pt>
                <c:pt idx="47">
                  <c:v>27.10.21</c:v>
                </c:pt>
                <c:pt idx="48">
                  <c:v>28.10.21</c:v>
                </c:pt>
                <c:pt idx="49">
                  <c:v>29.10.21</c:v>
                </c:pt>
                <c:pt idx="50">
                  <c:v>30.10.21</c:v>
                </c:pt>
                <c:pt idx="51">
                  <c:v>31.10.21</c:v>
                </c:pt>
                <c:pt idx="52">
                  <c:v>01.11.21</c:v>
                </c:pt>
                <c:pt idx="53">
                  <c:v>02.11.21</c:v>
                </c:pt>
                <c:pt idx="54">
                  <c:v>03.11.21</c:v>
                </c:pt>
                <c:pt idx="55">
                  <c:v>04.11.21</c:v>
                </c:pt>
                <c:pt idx="56">
                  <c:v>05.11.21</c:v>
                </c:pt>
                <c:pt idx="57">
                  <c:v>06.11.21</c:v>
                </c:pt>
                <c:pt idx="58">
                  <c:v>07.11.21</c:v>
                </c:pt>
                <c:pt idx="59">
                  <c:v>08.11.21</c:v>
                </c:pt>
                <c:pt idx="60">
                  <c:v>09.11.21</c:v>
                </c:pt>
                <c:pt idx="61">
                  <c:v>10.11.21</c:v>
                </c:pt>
                <c:pt idx="62">
                  <c:v>11.11.21</c:v>
                </c:pt>
                <c:pt idx="63">
                  <c:v>12.11.21</c:v>
                </c:pt>
                <c:pt idx="64">
                  <c:v>13.11.21</c:v>
                </c:pt>
                <c:pt idx="65">
                  <c:v>14.11.21</c:v>
                </c:pt>
                <c:pt idx="66">
                  <c:v>15.11.21</c:v>
                </c:pt>
                <c:pt idx="67">
                  <c:v>16.11.21</c:v>
                </c:pt>
                <c:pt idx="68">
                  <c:v>17.11.21</c:v>
                </c:pt>
                <c:pt idx="69">
                  <c:v>18.11.21</c:v>
                </c:pt>
                <c:pt idx="70">
                  <c:v>19.11.21</c:v>
                </c:pt>
                <c:pt idx="71">
                  <c:v>20.11.21</c:v>
                </c:pt>
                <c:pt idx="72">
                  <c:v>21.11.21</c:v>
                </c:pt>
                <c:pt idx="73">
                  <c:v>22.11.21</c:v>
                </c:pt>
                <c:pt idx="74">
                  <c:v>23.11.21</c:v>
                </c:pt>
                <c:pt idx="75">
                  <c:v>24.11.21</c:v>
                </c:pt>
                <c:pt idx="76">
                  <c:v>25.11.21</c:v>
                </c:pt>
                <c:pt idx="77">
                  <c:v>26.11.21</c:v>
                </c:pt>
                <c:pt idx="78">
                  <c:v>27.11.21</c:v>
                </c:pt>
                <c:pt idx="79">
                  <c:v>28.11.21</c:v>
                </c:pt>
                <c:pt idx="80">
                  <c:v>29.11.21</c:v>
                </c:pt>
                <c:pt idx="81">
                  <c:v>30.11.21</c:v>
                </c:pt>
                <c:pt idx="82">
                  <c:v>01.12.21</c:v>
                </c:pt>
                <c:pt idx="83">
                  <c:v>02.12.21</c:v>
                </c:pt>
                <c:pt idx="84">
                  <c:v>03.12.21</c:v>
                </c:pt>
                <c:pt idx="85">
                  <c:v>04.12.21</c:v>
                </c:pt>
                <c:pt idx="86">
                  <c:v>05.12.21</c:v>
                </c:pt>
                <c:pt idx="87">
                  <c:v>06.12.21</c:v>
                </c:pt>
                <c:pt idx="88">
                  <c:v>07.12.21</c:v>
                </c:pt>
                <c:pt idx="89">
                  <c:v>08.12.21</c:v>
                </c:pt>
                <c:pt idx="90">
                  <c:v>09.12.21</c:v>
                </c:pt>
                <c:pt idx="91">
                  <c:v>10.12.21</c:v>
                </c:pt>
                <c:pt idx="92">
                  <c:v>11.12.21</c:v>
                </c:pt>
                <c:pt idx="93">
                  <c:v>12.12.21</c:v>
                </c:pt>
                <c:pt idx="94">
                  <c:v>13.12.21</c:v>
                </c:pt>
                <c:pt idx="95">
                  <c:v>14.12.21</c:v>
                </c:pt>
                <c:pt idx="96">
                  <c:v>15.12.21</c:v>
                </c:pt>
                <c:pt idx="97">
                  <c:v>16.12.21</c:v>
                </c:pt>
                <c:pt idx="98">
                  <c:v>17.12.21</c:v>
                </c:pt>
                <c:pt idx="99">
                  <c:v>18.12.21</c:v>
                </c:pt>
                <c:pt idx="100">
                  <c:v>19.12.21</c:v>
                </c:pt>
                <c:pt idx="101">
                  <c:v>20.12.21</c:v>
                </c:pt>
                <c:pt idx="102">
                  <c:v>21.12.21</c:v>
                </c:pt>
                <c:pt idx="103">
                  <c:v>22.12.21</c:v>
                </c:pt>
                <c:pt idx="104">
                  <c:v>23.12.21</c:v>
                </c:pt>
                <c:pt idx="105">
                  <c:v>24.12.21</c:v>
                </c:pt>
                <c:pt idx="106">
                  <c:v>25.12.21</c:v>
                </c:pt>
                <c:pt idx="107">
                  <c:v>26.12.21</c:v>
                </c:pt>
                <c:pt idx="108">
                  <c:v>27.12.21</c:v>
                </c:pt>
                <c:pt idx="109">
                  <c:v>28.12.21</c:v>
                </c:pt>
                <c:pt idx="110">
                  <c:v>29.12.21</c:v>
                </c:pt>
                <c:pt idx="111">
                  <c:v>30.12.21</c:v>
                </c:pt>
                <c:pt idx="112">
                  <c:v>31.12.21</c:v>
                </c:pt>
                <c:pt idx="113">
                  <c:v>01.01.22</c:v>
                </c:pt>
                <c:pt idx="114">
                  <c:v>02.01.22</c:v>
                </c:pt>
                <c:pt idx="115">
                  <c:v>03.01.22</c:v>
                </c:pt>
                <c:pt idx="116">
                  <c:v>04.01.22</c:v>
                </c:pt>
                <c:pt idx="117">
                  <c:v>05.01.22</c:v>
                </c:pt>
                <c:pt idx="118">
                  <c:v>06.01.22</c:v>
                </c:pt>
                <c:pt idx="119">
                  <c:v>07.01.22</c:v>
                </c:pt>
                <c:pt idx="120">
                  <c:v>08.01.22</c:v>
                </c:pt>
                <c:pt idx="121">
                  <c:v>09.01.22</c:v>
                </c:pt>
                <c:pt idx="122">
                  <c:v>10.01.22</c:v>
                </c:pt>
                <c:pt idx="123">
                  <c:v>11.01.22</c:v>
                </c:pt>
                <c:pt idx="124">
                  <c:v>12.01.22</c:v>
                </c:pt>
                <c:pt idx="125">
                  <c:v>13.01.22</c:v>
                </c:pt>
                <c:pt idx="126">
                  <c:v>14.01.22</c:v>
                </c:pt>
                <c:pt idx="127">
                  <c:v>15.01.22</c:v>
                </c:pt>
                <c:pt idx="128">
                  <c:v>16.01.22</c:v>
                </c:pt>
                <c:pt idx="129">
                  <c:v>17.01.22</c:v>
                </c:pt>
                <c:pt idx="130">
                  <c:v>18.01.22</c:v>
                </c:pt>
                <c:pt idx="131">
                  <c:v>19.01.22</c:v>
                </c:pt>
                <c:pt idx="132">
                  <c:v>20.01.22</c:v>
                </c:pt>
                <c:pt idx="133">
                  <c:v>21.01.22</c:v>
                </c:pt>
                <c:pt idx="134">
                  <c:v>22.01.22</c:v>
                </c:pt>
                <c:pt idx="135">
                  <c:v>23.01.22</c:v>
                </c:pt>
                <c:pt idx="136">
                  <c:v>24.01.22</c:v>
                </c:pt>
                <c:pt idx="137">
                  <c:v>25.01.22</c:v>
                </c:pt>
                <c:pt idx="138">
                  <c:v>26.01.22</c:v>
                </c:pt>
                <c:pt idx="139">
                  <c:v>27.01.22</c:v>
                </c:pt>
                <c:pt idx="140">
                  <c:v>28.01.22</c:v>
                </c:pt>
                <c:pt idx="141">
                  <c:v>29.01.22</c:v>
                </c:pt>
                <c:pt idx="142">
                  <c:v>30.01.22</c:v>
                </c:pt>
                <c:pt idx="143">
                  <c:v>31.01.22</c:v>
                </c:pt>
                <c:pt idx="144">
                  <c:v>01.02.22</c:v>
                </c:pt>
                <c:pt idx="145">
                  <c:v>02.02.22</c:v>
                </c:pt>
                <c:pt idx="146">
                  <c:v>03.02.22</c:v>
                </c:pt>
                <c:pt idx="147">
                  <c:v>04.02.22</c:v>
                </c:pt>
                <c:pt idx="148">
                  <c:v>05.02.22</c:v>
                </c:pt>
                <c:pt idx="149">
                  <c:v>06.02.22</c:v>
                </c:pt>
                <c:pt idx="150">
                  <c:v>07.02.22</c:v>
                </c:pt>
                <c:pt idx="151">
                  <c:v>08.02.22</c:v>
                </c:pt>
                <c:pt idx="152">
                  <c:v>09.02.22</c:v>
                </c:pt>
                <c:pt idx="153">
                  <c:v>10.02.22</c:v>
                </c:pt>
                <c:pt idx="154">
                  <c:v>11.02.22</c:v>
                </c:pt>
                <c:pt idx="155">
                  <c:v>12.02.22</c:v>
                </c:pt>
                <c:pt idx="156">
                  <c:v>13.02.22</c:v>
                </c:pt>
                <c:pt idx="157">
                  <c:v>14.02.22</c:v>
                </c:pt>
                <c:pt idx="158">
                  <c:v>15.02.22</c:v>
                </c:pt>
                <c:pt idx="159">
                  <c:v>16.02.22</c:v>
                </c:pt>
                <c:pt idx="160">
                  <c:v>17.02.22</c:v>
                </c:pt>
                <c:pt idx="161">
                  <c:v>18.02.22</c:v>
                </c:pt>
                <c:pt idx="162">
                  <c:v>19.02.22</c:v>
                </c:pt>
                <c:pt idx="163">
                  <c:v>20.02.22</c:v>
                </c:pt>
                <c:pt idx="164">
                  <c:v>21.02.22</c:v>
                </c:pt>
                <c:pt idx="165">
                  <c:v>22.02.22</c:v>
                </c:pt>
                <c:pt idx="166">
                  <c:v>23.02.22</c:v>
                </c:pt>
                <c:pt idx="167">
                  <c:v>24.02.22</c:v>
                </c:pt>
                <c:pt idx="168">
                  <c:v>25.02.22</c:v>
                </c:pt>
                <c:pt idx="169">
                  <c:v>26.02.22</c:v>
                </c:pt>
                <c:pt idx="170">
                  <c:v>27.02.22</c:v>
                </c:pt>
                <c:pt idx="171">
                  <c:v>28.02.22</c:v>
                </c:pt>
                <c:pt idx="172">
                  <c:v>01.03.22</c:v>
                </c:pt>
                <c:pt idx="173">
                  <c:v>02.03.22</c:v>
                </c:pt>
                <c:pt idx="174">
                  <c:v>03.03.22</c:v>
                </c:pt>
                <c:pt idx="175">
                  <c:v>04.03.22</c:v>
                </c:pt>
                <c:pt idx="176">
                  <c:v>05.03.22</c:v>
                </c:pt>
                <c:pt idx="177">
                  <c:v>06.03.22</c:v>
                </c:pt>
                <c:pt idx="178">
                  <c:v>07.03.22</c:v>
                </c:pt>
                <c:pt idx="179">
                  <c:v>08.03.22</c:v>
                </c:pt>
                <c:pt idx="180">
                  <c:v>09.03.22</c:v>
                </c:pt>
                <c:pt idx="181">
                  <c:v>10.03.22</c:v>
                </c:pt>
                <c:pt idx="182">
                  <c:v>11.03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3</c:v>
                </c:pt>
                <c:pt idx="6">
                  <c:v>7</c:v>
                </c:pt>
                <c:pt idx="7">
                  <c:v>4</c:v>
                </c:pt>
                <c:pt idx="8">
                  <c:v>2</c:v>
                </c:pt>
                <c:pt idx="9">
                  <c:v>2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7</c:v>
                </c:pt>
                <c:pt idx="15">
                  <c:v>6</c:v>
                </c:pt>
                <c:pt idx="16">
                  <c:v>6</c:v>
                </c:pt>
                <c:pt idx="17">
                  <c:v>5</c:v>
                </c:pt>
                <c:pt idx="18">
                  <c:v>7</c:v>
                </c:pt>
                <c:pt idx="19">
                  <c:v>12</c:v>
                </c:pt>
                <c:pt idx="20">
                  <c:v>15</c:v>
                </c:pt>
                <c:pt idx="21">
                  <c:v>7</c:v>
                </c:pt>
                <c:pt idx="22">
                  <c:v>5</c:v>
                </c:pt>
                <c:pt idx="23">
                  <c:v>8</c:v>
                </c:pt>
                <c:pt idx="24">
                  <c:v>10</c:v>
                </c:pt>
                <c:pt idx="25">
                  <c:v>13</c:v>
                </c:pt>
                <c:pt idx="26">
                  <c:v>8</c:v>
                </c:pt>
                <c:pt idx="27">
                  <c:v>8</c:v>
                </c:pt>
                <c:pt idx="28">
                  <c:v>9</c:v>
                </c:pt>
                <c:pt idx="29">
                  <c:v>5</c:v>
                </c:pt>
                <c:pt idx="30">
                  <c:v>4</c:v>
                </c:pt>
                <c:pt idx="31">
                  <c:v>17</c:v>
                </c:pt>
                <c:pt idx="32">
                  <c:v>17</c:v>
                </c:pt>
                <c:pt idx="33">
                  <c:v>20</c:v>
                </c:pt>
                <c:pt idx="34">
                  <c:v>19</c:v>
                </c:pt>
                <c:pt idx="35">
                  <c:v>17</c:v>
                </c:pt>
                <c:pt idx="36">
                  <c:v>10</c:v>
                </c:pt>
                <c:pt idx="37">
                  <c:v>10</c:v>
                </c:pt>
                <c:pt idx="38">
                  <c:v>32</c:v>
                </c:pt>
                <c:pt idx="39">
                  <c:v>24</c:v>
                </c:pt>
                <c:pt idx="40">
                  <c:v>25</c:v>
                </c:pt>
                <c:pt idx="41">
                  <c:v>49</c:v>
                </c:pt>
                <c:pt idx="42">
                  <c:v>38</c:v>
                </c:pt>
                <c:pt idx="43">
                  <c:v>31</c:v>
                </c:pt>
                <c:pt idx="44">
                  <c:v>12</c:v>
                </c:pt>
                <c:pt idx="45">
                  <c:v>58</c:v>
                </c:pt>
                <c:pt idx="46">
                  <c:v>63</c:v>
                </c:pt>
                <c:pt idx="47">
                  <c:v>69</c:v>
                </c:pt>
                <c:pt idx="48">
                  <c:v>30</c:v>
                </c:pt>
                <c:pt idx="49">
                  <c:v>77</c:v>
                </c:pt>
                <c:pt idx="50">
                  <c:v>55</c:v>
                </c:pt>
                <c:pt idx="51">
                  <c:v>37</c:v>
                </c:pt>
                <c:pt idx="52">
                  <c:v>103</c:v>
                </c:pt>
                <c:pt idx="53">
                  <c:v>99</c:v>
                </c:pt>
                <c:pt idx="54">
                  <c:v>106</c:v>
                </c:pt>
                <c:pt idx="55">
                  <c:v>96</c:v>
                </c:pt>
                <c:pt idx="56">
                  <c:v>104</c:v>
                </c:pt>
                <c:pt idx="57">
                  <c:v>79</c:v>
                </c:pt>
                <c:pt idx="58">
                  <c:v>24</c:v>
                </c:pt>
                <c:pt idx="59">
                  <c:v>121</c:v>
                </c:pt>
                <c:pt idx="60">
                  <c:v>132</c:v>
                </c:pt>
                <c:pt idx="61">
                  <c:v>164</c:v>
                </c:pt>
                <c:pt idx="62">
                  <c:v>92</c:v>
                </c:pt>
                <c:pt idx="63">
                  <c:v>151</c:v>
                </c:pt>
                <c:pt idx="64">
                  <c:v>87</c:v>
                </c:pt>
                <c:pt idx="65">
                  <c:v>52</c:v>
                </c:pt>
                <c:pt idx="66">
                  <c:v>145</c:v>
                </c:pt>
                <c:pt idx="67">
                  <c:v>213</c:v>
                </c:pt>
                <c:pt idx="68">
                  <c:v>107</c:v>
                </c:pt>
                <c:pt idx="69">
                  <c:v>154</c:v>
                </c:pt>
                <c:pt idx="70">
                  <c:v>210</c:v>
                </c:pt>
                <c:pt idx="71">
                  <c:v>146</c:v>
                </c:pt>
                <c:pt idx="72">
                  <c:v>78</c:v>
                </c:pt>
                <c:pt idx="73">
                  <c:v>177</c:v>
                </c:pt>
                <c:pt idx="74">
                  <c:v>236</c:v>
                </c:pt>
                <c:pt idx="75">
                  <c:v>126</c:v>
                </c:pt>
                <c:pt idx="76">
                  <c:v>199</c:v>
                </c:pt>
                <c:pt idx="77">
                  <c:v>173</c:v>
                </c:pt>
                <c:pt idx="78">
                  <c:v>99</c:v>
                </c:pt>
                <c:pt idx="79">
                  <c:v>74</c:v>
                </c:pt>
                <c:pt idx="80">
                  <c:v>192</c:v>
                </c:pt>
                <c:pt idx="81">
                  <c:v>151</c:v>
                </c:pt>
                <c:pt idx="82">
                  <c:v>157</c:v>
                </c:pt>
                <c:pt idx="83">
                  <c:v>138</c:v>
                </c:pt>
                <c:pt idx="84">
                  <c:v>126</c:v>
                </c:pt>
                <c:pt idx="85">
                  <c:v>77</c:v>
                </c:pt>
                <c:pt idx="86">
                  <c:v>61</c:v>
                </c:pt>
                <c:pt idx="87">
                  <c:v>151</c:v>
                </c:pt>
                <c:pt idx="88">
                  <c:v>143</c:v>
                </c:pt>
                <c:pt idx="89">
                  <c:v>107</c:v>
                </c:pt>
                <c:pt idx="90">
                  <c:v>116</c:v>
                </c:pt>
                <c:pt idx="91">
                  <c:v>104</c:v>
                </c:pt>
                <c:pt idx="92">
                  <c:v>69</c:v>
                </c:pt>
                <c:pt idx="93">
                  <c:v>50</c:v>
                </c:pt>
                <c:pt idx="94">
                  <c:v>95</c:v>
                </c:pt>
                <c:pt idx="95">
                  <c:v>112</c:v>
                </c:pt>
                <c:pt idx="96">
                  <c:v>78</c:v>
                </c:pt>
                <c:pt idx="97">
                  <c:v>61</c:v>
                </c:pt>
                <c:pt idx="98">
                  <c:v>71</c:v>
                </c:pt>
                <c:pt idx="99">
                  <c:v>44</c:v>
                </c:pt>
                <c:pt idx="100">
                  <c:v>30</c:v>
                </c:pt>
                <c:pt idx="101">
                  <c:v>82</c:v>
                </c:pt>
                <c:pt idx="102">
                  <c:v>74</c:v>
                </c:pt>
                <c:pt idx="103">
                  <c:v>50</c:v>
                </c:pt>
                <c:pt idx="104">
                  <c:v>54</c:v>
                </c:pt>
                <c:pt idx="105">
                  <c:v>17</c:v>
                </c:pt>
                <c:pt idx="106">
                  <c:v>18</c:v>
                </c:pt>
                <c:pt idx="107">
                  <c:v>17</c:v>
                </c:pt>
                <c:pt idx="108">
                  <c:v>71</c:v>
                </c:pt>
                <c:pt idx="109">
                  <c:v>86</c:v>
                </c:pt>
                <c:pt idx="110">
                  <c:v>50</c:v>
                </c:pt>
                <c:pt idx="111">
                  <c:v>45</c:v>
                </c:pt>
                <c:pt idx="112">
                  <c:v>44</c:v>
                </c:pt>
                <c:pt idx="113">
                  <c:v>10</c:v>
                </c:pt>
                <c:pt idx="114">
                  <c:v>32</c:v>
                </c:pt>
                <c:pt idx="115">
                  <c:v>82</c:v>
                </c:pt>
                <c:pt idx="116">
                  <c:v>67</c:v>
                </c:pt>
                <c:pt idx="117">
                  <c:v>44</c:v>
                </c:pt>
                <c:pt idx="118">
                  <c:v>49</c:v>
                </c:pt>
                <c:pt idx="119">
                  <c:v>55</c:v>
                </c:pt>
                <c:pt idx="120">
                  <c:v>32</c:v>
                </c:pt>
                <c:pt idx="121">
                  <c:v>22</c:v>
                </c:pt>
                <c:pt idx="122">
                  <c:v>59</c:v>
                </c:pt>
                <c:pt idx="123">
                  <c:v>89</c:v>
                </c:pt>
                <c:pt idx="124">
                  <c:v>79</c:v>
                </c:pt>
                <c:pt idx="125">
                  <c:v>77</c:v>
                </c:pt>
                <c:pt idx="126">
                  <c:v>77</c:v>
                </c:pt>
                <c:pt idx="127">
                  <c:v>73</c:v>
                </c:pt>
                <c:pt idx="128">
                  <c:v>43</c:v>
                </c:pt>
                <c:pt idx="129">
                  <c:v>179</c:v>
                </c:pt>
                <c:pt idx="130">
                  <c:v>196</c:v>
                </c:pt>
                <c:pt idx="131">
                  <c:v>186</c:v>
                </c:pt>
                <c:pt idx="132">
                  <c:v>202</c:v>
                </c:pt>
                <c:pt idx="133">
                  <c:v>248</c:v>
                </c:pt>
                <c:pt idx="134">
                  <c:v>131</c:v>
                </c:pt>
                <c:pt idx="135">
                  <c:v>110</c:v>
                </c:pt>
                <c:pt idx="136">
                  <c:v>324</c:v>
                </c:pt>
                <c:pt idx="137">
                  <c:v>325</c:v>
                </c:pt>
                <c:pt idx="138">
                  <c:v>408</c:v>
                </c:pt>
                <c:pt idx="139">
                  <c:v>339</c:v>
                </c:pt>
                <c:pt idx="140">
                  <c:v>423</c:v>
                </c:pt>
                <c:pt idx="141">
                  <c:v>148</c:v>
                </c:pt>
                <c:pt idx="142">
                  <c:v>212</c:v>
                </c:pt>
                <c:pt idx="143">
                  <c:v>457</c:v>
                </c:pt>
                <c:pt idx="144">
                  <c:v>488</c:v>
                </c:pt>
                <c:pt idx="145">
                  <c:v>392</c:v>
                </c:pt>
                <c:pt idx="146">
                  <c:v>358</c:v>
                </c:pt>
                <c:pt idx="147">
                  <c:v>283</c:v>
                </c:pt>
                <c:pt idx="148">
                  <c:v>232</c:v>
                </c:pt>
                <c:pt idx="149">
                  <c:v>123</c:v>
                </c:pt>
                <c:pt idx="150">
                  <c:v>417</c:v>
                </c:pt>
                <c:pt idx="151">
                  <c:v>382</c:v>
                </c:pt>
                <c:pt idx="152">
                  <c:v>301</c:v>
                </c:pt>
                <c:pt idx="153">
                  <c:v>262</c:v>
                </c:pt>
                <c:pt idx="154">
                  <c:v>233</c:v>
                </c:pt>
                <c:pt idx="155">
                  <c:v>141</c:v>
                </c:pt>
                <c:pt idx="156">
                  <c:v>107</c:v>
                </c:pt>
                <c:pt idx="157">
                  <c:v>280</c:v>
                </c:pt>
                <c:pt idx="158">
                  <c:v>295</c:v>
                </c:pt>
                <c:pt idx="159">
                  <c:v>226</c:v>
                </c:pt>
                <c:pt idx="160">
                  <c:v>195</c:v>
                </c:pt>
                <c:pt idx="161">
                  <c:v>177</c:v>
                </c:pt>
                <c:pt idx="162">
                  <c:v>87</c:v>
                </c:pt>
                <c:pt idx="163">
                  <c:v>64</c:v>
                </c:pt>
                <c:pt idx="164">
                  <c:v>216</c:v>
                </c:pt>
                <c:pt idx="165">
                  <c:v>159</c:v>
                </c:pt>
                <c:pt idx="166">
                  <c:v>111</c:v>
                </c:pt>
                <c:pt idx="167">
                  <c:v>118</c:v>
                </c:pt>
                <c:pt idx="168">
                  <c:v>112</c:v>
                </c:pt>
                <c:pt idx="169">
                  <c:v>68</c:v>
                </c:pt>
                <c:pt idx="170">
                  <c:v>55</c:v>
                </c:pt>
                <c:pt idx="171">
                  <c:v>149</c:v>
                </c:pt>
                <c:pt idx="172">
                  <c:v>147</c:v>
                </c:pt>
                <c:pt idx="173">
                  <c:v>116</c:v>
                </c:pt>
                <c:pt idx="174">
                  <c:v>102</c:v>
                </c:pt>
                <c:pt idx="175">
                  <c:v>115</c:v>
                </c:pt>
                <c:pt idx="176">
                  <c:v>72</c:v>
                </c:pt>
                <c:pt idx="177">
                  <c:v>36</c:v>
                </c:pt>
                <c:pt idx="178">
                  <c:v>161</c:v>
                </c:pt>
                <c:pt idx="179">
                  <c:v>119</c:v>
                </c:pt>
                <c:pt idx="180">
                  <c:v>123</c:v>
                </c:pt>
                <c:pt idx="181">
                  <c:v>111</c:v>
                </c:pt>
                <c:pt idx="182">
                  <c:v>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1.8650134782764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0.09.21</c:v>
                </c:pt>
                <c:pt idx="1">
                  <c:v>11.09.21</c:v>
                </c:pt>
                <c:pt idx="2">
                  <c:v>12.09.21</c:v>
                </c:pt>
                <c:pt idx="3">
                  <c:v>13.09.21</c:v>
                </c:pt>
                <c:pt idx="4">
                  <c:v>14.09.21</c:v>
                </c:pt>
                <c:pt idx="5">
                  <c:v>15.09.21</c:v>
                </c:pt>
                <c:pt idx="6">
                  <c:v>16.09.21</c:v>
                </c:pt>
                <c:pt idx="7">
                  <c:v>17.09.21</c:v>
                </c:pt>
                <c:pt idx="8">
                  <c:v>18.09.21</c:v>
                </c:pt>
                <c:pt idx="9">
                  <c:v>19.09.21</c:v>
                </c:pt>
                <c:pt idx="10">
                  <c:v>20.09.21</c:v>
                </c:pt>
                <c:pt idx="11">
                  <c:v>21.09.21</c:v>
                </c:pt>
                <c:pt idx="12">
                  <c:v>22.09.21</c:v>
                </c:pt>
                <c:pt idx="13">
                  <c:v>23.09.21</c:v>
                </c:pt>
                <c:pt idx="14">
                  <c:v>24.09.21</c:v>
                </c:pt>
                <c:pt idx="15">
                  <c:v>25.09.21</c:v>
                </c:pt>
                <c:pt idx="16">
                  <c:v>26.09.21</c:v>
                </c:pt>
                <c:pt idx="17">
                  <c:v>27.09.21</c:v>
                </c:pt>
                <c:pt idx="18">
                  <c:v>28.09.21</c:v>
                </c:pt>
                <c:pt idx="19">
                  <c:v>29.09.21</c:v>
                </c:pt>
                <c:pt idx="20">
                  <c:v>30.09.21</c:v>
                </c:pt>
                <c:pt idx="21">
                  <c:v>01.10.21</c:v>
                </c:pt>
                <c:pt idx="22">
                  <c:v>02.10.21</c:v>
                </c:pt>
                <c:pt idx="23">
                  <c:v>03.10.21</c:v>
                </c:pt>
                <c:pt idx="24">
                  <c:v>04.10.21</c:v>
                </c:pt>
                <c:pt idx="25">
                  <c:v>05.10.21</c:v>
                </c:pt>
                <c:pt idx="26">
                  <c:v>06.10.21</c:v>
                </c:pt>
                <c:pt idx="27">
                  <c:v>07.10.21</c:v>
                </c:pt>
                <c:pt idx="28">
                  <c:v>08.10.21</c:v>
                </c:pt>
                <c:pt idx="29">
                  <c:v>09.10.21</c:v>
                </c:pt>
                <c:pt idx="30">
                  <c:v>10.10.21</c:v>
                </c:pt>
                <c:pt idx="31">
                  <c:v>11.10.21</c:v>
                </c:pt>
                <c:pt idx="32">
                  <c:v>12.10.21</c:v>
                </c:pt>
                <c:pt idx="33">
                  <c:v>13.10.21</c:v>
                </c:pt>
                <c:pt idx="34">
                  <c:v>14.10.21</c:v>
                </c:pt>
                <c:pt idx="35">
                  <c:v>15.10.21</c:v>
                </c:pt>
                <c:pt idx="36">
                  <c:v>16.10.21</c:v>
                </c:pt>
                <c:pt idx="37">
                  <c:v>17.10.21</c:v>
                </c:pt>
                <c:pt idx="38">
                  <c:v>18.10.21</c:v>
                </c:pt>
                <c:pt idx="39">
                  <c:v>19.10.21</c:v>
                </c:pt>
                <c:pt idx="40">
                  <c:v>20.10.21</c:v>
                </c:pt>
                <c:pt idx="41">
                  <c:v>21.10.21</c:v>
                </c:pt>
                <c:pt idx="42">
                  <c:v>22.10.21</c:v>
                </c:pt>
                <c:pt idx="43">
                  <c:v>23.10.21</c:v>
                </c:pt>
                <c:pt idx="44">
                  <c:v>24.10.21</c:v>
                </c:pt>
                <c:pt idx="45">
                  <c:v>25.10.21</c:v>
                </c:pt>
                <c:pt idx="46">
                  <c:v>26.10.21</c:v>
                </c:pt>
                <c:pt idx="47">
                  <c:v>27.10.21</c:v>
                </c:pt>
                <c:pt idx="48">
                  <c:v>28.10.21</c:v>
                </c:pt>
                <c:pt idx="49">
                  <c:v>29.10.21</c:v>
                </c:pt>
                <c:pt idx="50">
                  <c:v>30.10.21</c:v>
                </c:pt>
                <c:pt idx="51">
                  <c:v>31.10.21</c:v>
                </c:pt>
                <c:pt idx="52">
                  <c:v>01.11.21</c:v>
                </c:pt>
                <c:pt idx="53">
                  <c:v>02.11.21</c:v>
                </c:pt>
                <c:pt idx="54">
                  <c:v>03.11.21</c:v>
                </c:pt>
                <c:pt idx="55">
                  <c:v>04.11.21</c:v>
                </c:pt>
                <c:pt idx="56">
                  <c:v>05.11.21</c:v>
                </c:pt>
                <c:pt idx="57">
                  <c:v>06.11.21</c:v>
                </c:pt>
                <c:pt idx="58">
                  <c:v>07.11.21</c:v>
                </c:pt>
                <c:pt idx="59">
                  <c:v>08.11.21</c:v>
                </c:pt>
                <c:pt idx="60">
                  <c:v>09.11.21</c:v>
                </c:pt>
                <c:pt idx="61">
                  <c:v>10.11.21</c:v>
                </c:pt>
                <c:pt idx="62">
                  <c:v>11.11.21</c:v>
                </c:pt>
                <c:pt idx="63">
                  <c:v>12.11.21</c:v>
                </c:pt>
                <c:pt idx="64">
                  <c:v>13.11.21</c:v>
                </c:pt>
                <c:pt idx="65">
                  <c:v>14.11.21</c:v>
                </c:pt>
                <c:pt idx="66">
                  <c:v>15.11.21</c:v>
                </c:pt>
                <c:pt idx="67">
                  <c:v>16.11.21</c:v>
                </c:pt>
                <c:pt idx="68">
                  <c:v>17.11.21</c:v>
                </c:pt>
                <c:pt idx="69">
                  <c:v>18.11.21</c:v>
                </c:pt>
                <c:pt idx="70">
                  <c:v>19.11.21</c:v>
                </c:pt>
                <c:pt idx="71">
                  <c:v>20.11.21</c:v>
                </c:pt>
                <c:pt idx="72">
                  <c:v>21.11.21</c:v>
                </c:pt>
                <c:pt idx="73">
                  <c:v>22.11.21</c:v>
                </c:pt>
                <c:pt idx="74">
                  <c:v>23.11.21</c:v>
                </c:pt>
                <c:pt idx="75">
                  <c:v>24.11.21</c:v>
                </c:pt>
                <c:pt idx="76">
                  <c:v>25.11.21</c:v>
                </c:pt>
                <c:pt idx="77">
                  <c:v>26.11.21</c:v>
                </c:pt>
                <c:pt idx="78">
                  <c:v>27.11.21</c:v>
                </c:pt>
                <c:pt idx="79">
                  <c:v>28.11.21</c:v>
                </c:pt>
                <c:pt idx="80">
                  <c:v>29.11.21</c:v>
                </c:pt>
                <c:pt idx="81">
                  <c:v>30.11.21</c:v>
                </c:pt>
                <c:pt idx="82">
                  <c:v>01.12.21</c:v>
                </c:pt>
                <c:pt idx="83">
                  <c:v>02.12.21</c:v>
                </c:pt>
                <c:pt idx="84">
                  <c:v>03.12.21</c:v>
                </c:pt>
                <c:pt idx="85">
                  <c:v>04.12.21</c:v>
                </c:pt>
                <c:pt idx="86">
                  <c:v>05.12.21</c:v>
                </c:pt>
                <c:pt idx="87">
                  <c:v>06.12.21</c:v>
                </c:pt>
                <c:pt idx="88">
                  <c:v>07.12.21</c:v>
                </c:pt>
                <c:pt idx="89">
                  <c:v>08.12.21</c:v>
                </c:pt>
                <c:pt idx="90">
                  <c:v>09.12.21</c:v>
                </c:pt>
                <c:pt idx="91">
                  <c:v>10.12.21</c:v>
                </c:pt>
                <c:pt idx="92">
                  <c:v>11.12.21</c:v>
                </c:pt>
                <c:pt idx="93">
                  <c:v>12.12.21</c:v>
                </c:pt>
                <c:pt idx="94">
                  <c:v>13.12.21</c:v>
                </c:pt>
                <c:pt idx="95">
                  <c:v>14.12.21</c:v>
                </c:pt>
                <c:pt idx="96">
                  <c:v>15.12.21</c:v>
                </c:pt>
                <c:pt idx="97">
                  <c:v>16.12.21</c:v>
                </c:pt>
                <c:pt idx="98">
                  <c:v>17.12.21</c:v>
                </c:pt>
                <c:pt idx="99">
                  <c:v>18.12.21</c:v>
                </c:pt>
                <c:pt idx="100">
                  <c:v>19.12.21</c:v>
                </c:pt>
                <c:pt idx="101">
                  <c:v>20.12.21</c:v>
                </c:pt>
                <c:pt idx="102">
                  <c:v>21.12.21</c:v>
                </c:pt>
                <c:pt idx="103">
                  <c:v>22.12.21</c:v>
                </c:pt>
                <c:pt idx="104">
                  <c:v>23.12.21</c:v>
                </c:pt>
                <c:pt idx="105">
                  <c:v>24.12.21</c:v>
                </c:pt>
                <c:pt idx="106">
                  <c:v>25.12.21</c:v>
                </c:pt>
                <c:pt idx="107">
                  <c:v>26.12.21</c:v>
                </c:pt>
                <c:pt idx="108">
                  <c:v>27.12.21</c:v>
                </c:pt>
                <c:pt idx="109">
                  <c:v>28.12.21</c:v>
                </c:pt>
                <c:pt idx="110">
                  <c:v>29.12.21</c:v>
                </c:pt>
                <c:pt idx="111">
                  <c:v>30.12.21</c:v>
                </c:pt>
                <c:pt idx="112">
                  <c:v>31.12.21</c:v>
                </c:pt>
                <c:pt idx="113">
                  <c:v>01.01.22</c:v>
                </c:pt>
                <c:pt idx="114">
                  <c:v>02.01.22</c:v>
                </c:pt>
                <c:pt idx="115">
                  <c:v>03.01.22</c:v>
                </c:pt>
                <c:pt idx="116">
                  <c:v>04.01.22</c:v>
                </c:pt>
                <c:pt idx="117">
                  <c:v>05.01.22</c:v>
                </c:pt>
                <c:pt idx="118">
                  <c:v>06.01.22</c:v>
                </c:pt>
                <c:pt idx="119">
                  <c:v>07.01.22</c:v>
                </c:pt>
                <c:pt idx="120">
                  <c:v>08.01.22</c:v>
                </c:pt>
                <c:pt idx="121">
                  <c:v>09.01.22</c:v>
                </c:pt>
                <c:pt idx="122">
                  <c:v>10.01.22</c:v>
                </c:pt>
                <c:pt idx="123">
                  <c:v>11.01.22</c:v>
                </c:pt>
                <c:pt idx="124">
                  <c:v>12.01.22</c:v>
                </c:pt>
                <c:pt idx="125">
                  <c:v>13.01.22</c:v>
                </c:pt>
                <c:pt idx="126">
                  <c:v>14.01.22</c:v>
                </c:pt>
                <c:pt idx="127">
                  <c:v>15.01.22</c:v>
                </c:pt>
                <c:pt idx="128">
                  <c:v>16.01.22</c:v>
                </c:pt>
                <c:pt idx="129">
                  <c:v>17.01.22</c:v>
                </c:pt>
                <c:pt idx="130">
                  <c:v>18.01.22</c:v>
                </c:pt>
                <c:pt idx="131">
                  <c:v>19.01.22</c:v>
                </c:pt>
                <c:pt idx="132">
                  <c:v>20.01.22</c:v>
                </c:pt>
                <c:pt idx="133">
                  <c:v>21.01.22</c:v>
                </c:pt>
                <c:pt idx="134">
                  <c:v>22.01.22</c:v>
                </c:pt>
                <c:pt idx="135">
                  <c:v>23.01.22</c:v>
                </c:pt>
                <c:pt idx="136">
                  <c:v>24.01.22</c:v>
                </c:pt>
                <c:pt idx="137">
                  <c:v>25.01.22</c:v>
                </c:pt>
                <c:pt idx="138">
                  <c:v>26.01.22</c:v>
                </c:pt>
                <c:pt idx="139">
                  <c:v>27.01.22</c:v>
                </c:pt>
                <c:pt idx="140">
                  <c:v>28.01.22</c:v>
                </c:pt>
                <c:pt idx="141">
                  <c:v>29.01.22</c:v>
                </c:pt>
                <c:pt idx="142">
                  <c:v>30.01.22</c:v>
                </c:pt>
                <c:pt idx="143">
                  <c:v>31.01.22</c:v>
                </c:pt>
                <c:pt idx="144">
                  <c:v>01.02.22</c:v>
                </c:pt>
                <c:pt idx="145">
                  <c:v>02.02.22</c:v>
                </c:pt>
                <c:pt idx="146">
                  <c:v>03.02.22</c:v>
                </c:pt>
                <c:pt idx="147">
                  <c:v>04.02.22</c:v>
                </c:pt>
                <c:pt idx="148">
                  <c:v>05.02.22</c:v>
                </c:pt>
                <c:pt idx="149">
                  <c:v>06.02.22</c:v>
                </c:pt>
                <c:pt idx="150">
                  <c:v>07.02.22</c:v>
                </c:pt>
                <c:pt idx="151">
                  <c:v>08.02.22</c:v>
                </c:pt>
                <c:pt idx="152">
                  <c:v>09.02.22</c:v>
                </c:pt>
                <c:pt idx="153">
                  <c:v>10.02.22</c:v>
                </c:pt>
                <c:pt idx="154">
                  <c:v>11.02.22</c:v>
                </c:pt>
                <c:pt idx="155">
                  <c:v>12.02.22</c:v>
                </c:pt>
                <c:pt idx="156">
                  <c:v>13.02.22</c:v>
                </c:pt>
                <c:pt idx="157">
                  <c:v>14.02.22</c:v>
                </c:pt>
                <c:pt idx="158">
                  <c:v>15.02.22</c:v>
                </c:pt>
                <c:pt idx="159">
                  <c:v>16.02.22</c:v>
                </c:pt>
                <c:pt idx="160">
                  <c:v>17.02.22</c:v>
                </c:pt>
                <c:pt idx="161">
                  <c:v>18.02.22</c:v>
                </c:pt>
                <c:pt idx="162">
                  <c:v>19.02.22</c:v>
                </c:pt>
                <c:pt idx="163">
                  <c:v>20.02.22</c:v>
                </c:pt>
                <c:pt idx="164">
                  <c:v>21.02.22</c:v>
                </c:pt>
                <c:pt idx="165">
                  <c:v>22.02.22</c:v>
                </c:pt>
                <c:pt idx="166">
                  <c:v>23.02.22</c:v>
                </c:pt>
                <c:pt idx="167">
                  <c:v>24.02.22</c:v>
                </c:pt>
                <c:pt idx="168">
                  <c:v>25.02.22</c:v>
                </c:pt>
                <c:pt idx="169">
                  <c:v>26.02.22</c:v>
                </c:pt>
                <c:pt idx="170">
                  <c:v>27.02.22</c:v>
                </c:pt>
                <c:pt idx="171">
                  <c:v>28.02.22</c:v>
                </c:pt>
                <c:pt idx="172">
                  <c:v>01.03.22</c:v>
                </c:pt>
                <c:pt idx="173">
                  <c:v>02.03.22</c:v>
                </c:pt>
                <c:pt idx="174">
                  <c:v>03.03.22</c:v>
                </c:pt>
                <c:pt idx="175">
                  <c:v>04.03.22</c:v>
                </c:pt>
                <c:pt idx="176">
                  <c:v>05.03.22</c:v>
                </c:pt>
                <c:pt idx="177">
                  <c:v>06.03.22</c:v>
                </c:pt>
                <c:pt idx="178">
                  <c:v>07.03.22</c:v>
                </c:pt>
                <c:pt idx="179">
                  <c:v>08.03.22</c:v>
                </c:pt>
                <c:pt idx="180">
                  <c:v>09.03.22</c:v>
                </c:pt>
                <c:pt idx="181">
                  <c:v>10.03.22</c:v>
                </c:pt>
                <c:pt idx="182">
                  <c:v>11.03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2</c:v>
                </c:pt>
                <c:pt idx="4">
                  <c:v>3</c:v>
                </c:pt>
                <c:pt idx="5">
                  <c:v>5</c:v>
                </c:pt>
                <c:pt idx="6">
                  <c:v>8</c:v>
                </c:pt>
                <c:pt idx="7">
                  <c:v>4</c:v>
                </c:pt>
                <c:pt idx="8">
                  <c:v>2</c:v>
                </c:pt>
                <c:pt idx="9">
                  <c:v>5</c:v>
                </c:pt>
                <c:pt idx="10">
                  <c:v>8</c:v>
                </c:pt>
                <c:pt idx="11">
                  <c:v>9</c:v>
                </c:pt>
                <c:pt idx="12">
                  <c:v>8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2</c:v>
                </c:pt>
                <c:pt idx="17">
                  <c:v>7</c:v>
                </c:pt>
                <c:pt idx="18">
                  <c:v>6</c:v>
                </c:pt>
                <c:pt idx="19">
                  <c:v>8</c:v>
                </c:pt>
                <c:pt idx="20">
                  <c:v>12</c:v>
                </c:pt>
                <c:pt idx="21">
                  <c:v>8</c:v>
                </c:pt>
                <c:pt idx="22">
                  <c:v>4</c:v>
                </c:pt>
                <c:pt idx="23">
                  <c:v>6</c:v>
                </c:pt>
                <c:pt idx="24">
                  <c:v>9</c:v>
                </c:pt>
                <c:pt idx="25">
                  <c:v>12</c:v>
                </c:pt>
                <c:pt idx="26">
                  <c:v>13</c:v>
                </c:pt>
                <c:pt idx="27">
                  <c:v>14</c:v>
                </c:pt>
                <c:pt idx="28">
                  <c:v>9</c:v>
                </c:pt>
                <c:pt idx="29">
                  <c:v>7</c:v>
                </c:pt>
                <c:pt idx="30">
                  <c:v>5</c:v>
                </c:pt>
                <c:pt idx="31">
                  <c:v>19</c:v>
                </c:pt>
                <c:pt idx="32">
                  <c:v>31</c:v>
                </c:pt>
                <c:pt idx="33">
                  <c:v>19</c:v>
                </c:pt>
                <c:pt idx="34">
                  <c:v>16</c:v>
                </c:pt>
                <c:pt idx="35">
                  <c:v>14</c:v>
                </c:pt>
                <c:pt idx="36">
                  <c:v>9</c:v>
                </c:pt>
                <c:pt idx="37">
                  <c:v>12</c:v>
                </c:pt>
                <c:pt idx="38">
                  <c:v>38</c:v>
                </c:pt>
                <c:pt idx="39">
                  <c:v>54</c:v>
                </c:pt>
                <c:pt idx="40">
                  <c:v>46</c:v>
                </c:pt>
                <c:pt idx="41">
                  <c:v>53</c:v>
                </c:pt>
                <c:pt idx="42">
                  <c:v>42</c:v>
                </c:pt>
                <c:pt idx="43">
                  <c:v>27</c:v>
                </c:pt>
                <c:pt idx="44">
                  <c:v>20</c:v>
                </c:pt>
                <c:pt idx="45">
                  <c:v>76</c:v>
                </c:pt>
                <c:pt idx="46">
                  <c:v>82</c:v>
                </c:pt>
                <c:pt idx="47">
                  <c:v>63</c:v>
                </c:pt>
                <c:pt idx="48">
                  <c:v>40</c:v>
                </c:pt>
                <c:pt idx="49">
                  <c:v>78</c:v>
                </c:pt>
                <c:pt idx="50">
                  <c:v>52</c:v>
                </c:pt>
                <c:pt idx="51">
                  <c:v>40</c:v>
                </c:pt>
                <c:pt idx="52">
                  <c:v>129</c:v>
                </c:pt>
                <c:pt idx="53">
                  <c:v>129</c:v>
                </c:pt>
                <c:pt idx="54">
                  <c:v>103</c:v>
                </c:pt>
                <c:pt idx="55">
                  <c:v>105</c:v>
                </c:pt>
                <c:pt idx="56">
                  <c:v>127</c:v>
                </c:pt>
                <c:pt idx="57">
                  <c:v>53</c:v>
                </c:pt>
                <c:pt idx="58">
                  <c:v>38</c:v>
                </c:pt>
                <c:pt idx="59">
                  <c:v>127</c:v>
                </c:pt>
                <c:pt idx="60">
                  <c:v>134</c:v>
                </c:pt>
                <c:pt idx="61">
                  <c:v>144</c:v>
                </c:pt>
                <c:pt idx="62">
                  <c:v>113</c:v>
                </c:pt>
                <c:pt idx="63">
                  <c:v>160</c:v>
                </c:pt>
                <c:pt idx="64">
                  <c:v>90</c:v>
                </c:pt>
                <c:pt idx="65">
                  <c:v>49</c:v>
                </c:pt>
                <c:pt idx="66">
                  <c:v>156</c:v>
                </c:pt>
                <c:pt idx="67">
                  <c:v>189</c:v>
                </c:pt>
                <c:pt idx="68">
                  <c:v>139</c:v>
                </c:pt>
                <c:pt idx="69">
                  <c:v>156</c:v>
                </c:pt>
                <c:pt idx="70">
                  <c:v>243</c:v>
                </c:pt>
                <c:pt idx="71">
                  <c:v>117</c:v>
                </c:pt>
                <c:pt idx="72">
                  <c:v>86</c:v>
                </c:pt>
                <c:pt idx="73">
                  <c:v>196</c:v>
                </c:pt>
                <c:pt idx="74">
                  <c:v>206</c:v>
                </c:pt>
                <c:pt idx="75">
                  <c:v>171</c:v>
                </c:pt>
                <c:pt idx="76">
                  <c:v>247</c:v>
                </c:pt>
                <c:pt idx="77">
                  <c:v>141</c:v>
                </c:pt>
                <c:pt idx="78">
                  <c:v>108</c:v>
                </c:pt>
                <c:pt idx="79">
                  <c:v>83</c:v>
                </c:pt>
                <c:pt idx="80">
                  <c:v>197</c:v>
                </c:pt>
                <c:pt idx="81">
                  <c:v>184</c:v>
                </c:pt>
                <c:pt idx="82">
                  <c:v>158</c:v>
                </c:pt>
                <c:pt idx="83">
                  <c:v>126</c:v>
                </c:pt>
                <c:pt idx="84">
                  <c:v>152</c:v>
                </c:pt>
                <c:pt idx="85">
                  <c:v>94</c:v>
                </c:pt>
                <c:pt idx="86">
                  <c:v>63</c:v>
                </c:pt>
                <c:pt idx="87">
                  <c:v>185</c:v>
                </c:pt>
                <c:pt idx="88">
                  <c:v>156</c:v>
                </c:pt>
                <c:pt idx="89">
                  <c:v>127</c:v>
                </c:pt>
                <c:pt idx="90">
                  <c:v>108</c:v>
                </c:pt>
                <c:pt idx="91">
                  <c:v>89</c:v>
                </c:pt>
                <c:pt idx="92">
                  <c:v>75</c:v>
                </c:pt>
                <c:pt idx="93">
                  <c:v>60</c:v>
                </c:pt>
                <c:pt idx="94">
                  <c:v>115</c:v>
                </c:pt>
                <c:pt idx="95">
                  <c:v>166</c:v>
                </c:pt>
                <c:pt idx="96">
                  <c:v>88</c:v>
                </c:pt>
                <c:pt idx="97">
                  <c:v>87</c:v>
                </c:pt>
                <c:pt idx="98">
                  <c:v>91</c:v>
                </c:pt>
                <c:pt idx="99">
                  <c:v>57</c:v>
                </c:pt>
                <c:pt idx="100">
                  <c:v>41</c:v>
                </c:pt>
                <c:pt idx="101">
                  <c:v>99</c:v>
                </c:pt>
                <c:pt idx="102">
                  <c:v>92</c:v>
                </c:pt>
                <c:pt idx="103">
                  <c:v>44</c:v>
                </c:pt>
                <c:pt idx="104">
                  <c:v>68</c:v>
                </c:pt>
                <c:pt idx="105">
                  <c:v>20</c:v>
                </c:pt>
                <c:pt idx="106">
                  <c:v>12</c:v>
                </c:pt>
                <c:pt idx="107">
                  <c:v>21</c:v>
                </c:pt>
                <c:pt idx="108">
                  <c:v>67</c:v>
                </c:pt>
                <c:pt idx="109">
                  <c:v>90</c:v>
                </c:pt>
                <c:pt idx="110">
                  <c:v>59</c:v>
                </c:pt>
                <c:pt idx="111">
                  <c:v>57</c:v>
                </c:pt>
                <c:pt idx="112">
                  <c:v>73</c:v>
                </c:pt>
                <c:pt idx="113">
                  <c:v>12</c:v>
                </c:pt>
                <c:pt idx="114">
                  <c:v>22</c:v>
                </c:pt>
                <c:pt idx="115">
                  <c:v>91</c:v>
                </c:pt>
                <c:pt idx="116">
                  <c:v>86</c:v>
                </c:pt>
                <c:pt idx="117">
                  <c:v>69</c:v>
                </c:pt>
                <c:pt idx="118">
                  <c:v>66</c:v>
                </c:pt>
                <c:pt idx="119">
                  <c:v>64</c:v>
                </c:pt>
                <c:pt idx="120">
                  <c:v>30</c:v>
                </c:pt>
                <c:pt idx="121">
                  <c:v>27</c:v>
                </c:pt>
                <c:pt idx="122">
                  <c:v>77</c:v>
                </c:pt>
                <c:pt idx="123">
                  <c:v>106</c:v>
                </c:pt>
                <c:pt idx="124">
                  <c:v>88</c:v>
                </c:pt>
                <c:pt idx="125">
                  <c:v>74</c:v>
                </c:pt>
                <c:pt idx="126">
                  <c:v>94</c:v>
                </c:pt>
                <c:pt idx="127">
                  <c:v>57</c:v>
                </c:pt>
                <c:pt idx="128">
                  <c:v>54</c:v>
                </c:pt>
                <c:pt idx="129">
                  <c:v>178</c:v>
                </c:pt>
                <c:pt idx="130">
                  <c:v>190</c:v>
                </c:pt>
                <c:pt idx="131">
                  <c:v>220</c:v>
                </c:pt>
                <c:pt idx="132">
                  <c:v>215</c:v>
                </c:pt>
                <c:pt idx="133">
                  <c:v>204</c:v>
                </c:pt>
                <c:pt idx="134">
                  <c:v>141</c:v>
                </c:pt>
                <c:pt idx="135">
                  <c:v>109</c:v>
                </c:pt>
                <c:pt idx="136">
                  <c:v>282</c:v>
                </c:pt>
                <c:pt idx="137">
                  <c:v>313</c:v>
                </c:pt>
                <c:pt idx="138">
                  <c:v>399</c:v>
                </c:pt>
                <c:pt idx="139">
                  <c:v>305</c:v>
                </c:pt>
                <c:pt idx="140">
                  <c:v>406</c:v>
                </c:pt>
                <c:pt idx="141">
                  <c:v>148</c:v>
                </c:pt>
                <c:pt idx="142">
                  <c:v>170</c:v>
                </c:pt>
                <c:pt idx="143">
                  <c:v>361</c:v>
                </c:pt>
                <c:pt idx="144">
                  <c:v>479</c:v>
                </c:pt>
                <c:pt idx="145">
                  <c:v>352</c:v>
                </c:pt>
                <c:pt idx="146">
                  <c:v>349</c:v>
                </c:pt>
                <c:pt idx="147">
                  <c:v>289</c:v>
                </c:pt>
                <c:pt idx="148">
                  <c:v>181</c:v>
                </c:pt>
                <c:pt idx="149">
                  <c:v>107</c:v>
                </c:pt>
                <c:pt idx="150">
                  <c:v>415</c:v>
                </c:pt>
                <c:pt idx="151">
                  <c:v>355</c:v>
                </c:pt>
                <c:pt idx="152">
                  <c:v>302</c:v>
                </c:pt>
                <c:pt idx="153">
                  <c:v>252</c:v>
                </c:pt>
                <c:pt idx="154">
                  <c:v>216</c:v>
                </c:pt>
                <c:pt idx="155">
                  <c:v>122</c:v>
                </c:pt>
                <c:pt idx="156">
                  <c:v>87</c:v>
                </c:pt>
                <c:pt idx="157">
                  <c:v>233</c:v>
                </c:pt>
                <c:pt idx="158">
                  <c:v>256</c:v>
                </c:pt>
                <c:pt idx="159">
                  <c:v>169</c:v>
                </c:pt>
                <c:pt idx="160">
                  <c:v>151</c:v>
                </c:pt>
                <c:pt idx="161">
                  <c:v>141</c:v>
                </c:pt>
                <c:pt idx="162">
                  <c:v>78</c:v>
                </c:pt>
                <c:pt idx="163">
                  <c:v>51</c:v>
                </c:pt>
                <c:pt idx="164">
                  <c:v>187</c:v>
                </c:pt>
                <c:pt idx="165">
                  <c:v>143</c:v>
                </c:pt>
                <c:pt idx="166">
                  <c:v>109</c:v>
                </c:pt>
                <c:pt idx="167">
                  <c:v>122</c:v>
                </c:pt>
                <c:pt idx="168">
                  <c:v>96</c:v>
                </c:pt>
                <c:pt idx="169">
                  <c:v>56</c:v>
                </c:pt>
                <c:pt idx="170">
                  <c:v>41</c:v>
                </c:pt>
                <c:pt idx="171">
                  <c:v>151</c:v>
                </c:pt>
                <c:pt idx="172">
                  <c:v>132</c:v>
                </c:pt>
                <c:pt idx="173">
                  <c:v>101</c:v>
                </c:pt>
                <c:pt idx="174">
                  <c:v>95</c:v>
                </c:pt>
                <c:pt idx="175">
                  <c:v>76</c:v>
                </c:pt>
                <c:pt idx="176">
                  <c:v>53</c:v>
                </c:pt>
                <c:pt idx="177">
                  <c:v>32</c:v>
                </c:pt>
                <c:pt idx="178">
                  <c:v>151</c:v>
                </c:pt>
                <c:pt idx="179">
                  <c:v>124</c:v>
                </c:pt>
                <c:pt idx="180">
                  <c:v>122</c:v>
                </c:pt>
                <c:pt idx="181">
                  <c:v>91</c:v>
                </c:pt>
                <c:pt idx="182">
                  <c:v>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8987323987963556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10.09.21</c:v>
                </c:pt>
                <c:pt idx="1">
                  <c:v>11.09.21</c:v>
                </c:pt>
                <c:pt idx="2">
                  <c:v>12.09.21</c:v>
                </c:pt>
                <c:pt idx="3">
                  <c:v>13.09.21</c:v>
                </c:pt>
                <c:pt idx="4">
                  <c:v>14.09.21</c:v>
                </c:pt>
                <c:pt idx="5">
                  <c:v>15.09.21</c:v>
                </c:pt>
                <c:pt idx="6">
                  <c:v>16.09.21</c:v>
                </c:pt>
                <c:pt idx="7">
                  <c:v>17.09.21</c:v>
                </c:pt>
                <c:pt idx="8">
                  <c:v>18.09.21</c:v>
                </c:pt>
                <c:pt idx="9">
                  <c:v>19.09.21</c:v>
                </c:pt>
                <c:pt idx="10">
                  <c:v>20.09.21</c:v>
                </c:pt>
                <c:pt idx="11">
                  <c:v>21.09.21</c:v>
                </c:pt>
                <c:pt idx="12">
                  <c:v>22.09.21</c:v>
                </c:pt>
                <c:pt idx="13">
                  <c:v>23.09.21</c:v>
                </c:pt>
                <c:pt idx="14">
                  <c:v>24.09.21</c:v>
                </c:pt>
                <c:pt idx="15">
                  <c:v>25.09.21</c:v>
                </c:pt>
                <c:pt idx="16">
                  <c:v>26.09.21</c:v>
                </c:pt>
                <c:pt idx="17">
                  <c:v>27.09.21</c:v>
                </c:pt>
                <c:pt idx="18">
                  <c:v>28.09.21</c:v>
                </c:pt>
                <c:pt idx="19">
                  <c:v>29.09.21</c:v>
                </c:pt>
                <c:pt idx="20">
                  <c:v>30.09.21</c:v>
                </c:pt>
                <c:pt idx="21">
                  <c:v>01.10.21</c:v>
                </c:pt>
                <c:pt idx="22">
                  <c:v>02.10.21</c:v>
                </c:pt>
                <c:pt idx="23">
                  <c:v>03.10.21</c:v>
                </c:pt>
                <c:pt idx="24">
                  <c:v>04.10.21</c:v>
                </c:pt>
                <c:pt idx="25">
                  <c:v>05.10.21</c:v>
                </c:pt>
                <c:pt idx="26">
                  <c:v>06.10.21</c:v>
                </c:pt>
                <c:pt idx="27">
                  <c:v>07.10.21</c:v>
                </c:pt>
                <c:pt idx="28">
                  <c:v>08.10.21</c:v>
                </c:pt>
                <c:pt idx="29">
                  <c:v>09.10.21</c:v>
                </c:pt>
                <c:pt idx="30">
                  <c:v>10.10.21</c:v>
                </c:pt>
                <c:pt idx="31">
                  <c:v>11.10.21</c:v>
                </c:pt>
                <c:pt idx="32">
                  <c:v>12.10.21</c:v>
                </c:pt>
                <c:pt idx="33">
                  <c:v>13.10.21</c:v>
                </c:pt>
                <c:pt idx="34">
                  <c:v>14.10.21</c:v>
                </c:pt>
                <c:pt idx="35">
                  <c:v>15.10.21</c:v>
                </c:pt>
                <c:pt idx="36">
                  <c:v>16.10.21</c:v>
                </c:pt>
                <c:pt idx="37">
                  <c:v>17.10.21</c:v>
                </c:pt>
                <c:pt idx="38">
                  <c:v>18.10.21</c:v>
                </c:pt>
                <c:pt idx="39">
                  <c:v>19.10.21</c:v>
                </c:pt>
                <c:pt idx="40">
                  <c:v>20.10.21</c:v>
                </c:pt>
                <c:pt idx="41">
                  <c:v>21.10.21</c:v>
                </c:pt>
                <c:pt idx="42">
                  <c:v>22.10.21</c:v>
                </c:pt>
                <c:pt idx="43">
                  <c:v>23.10.21</c:v>
                </c:pt>
                <c:pt idx="44">
                  <c:v>24.10.21</c:v>
                </c:pt>
                <c:pt idx="45">
                  <c:v>25.10.21</c:v>
                </c:pt>
                <c:pt idx="46">
                  <c:v>26.10.21</c:v>
                </c:pt>
                <c:pt idx="47">
                  <c:v>27.10.21</c:v>
                </c:pt>
                <c:pt idx="48">
                  <c:v>28.10.21</c:v>
                </c:pt>
                <c:pt idx="49">
                  <c:v>29.10.21</c:v>
                </c:pt>
                <c:pt idx="50">
                  <c:v>30.10.21</c:v>
                </c:pt>
                <c:pt idx="51">
                  <c:v>31.10.21</c:v>
                </c:pt>
                <c:pt idx="52">
                  <c:v>01.11.21</c:v>
                </c:pt>
                <c:pt idx="53">
                  <c:v>02.11.21</c:v>
                </c:pt>
                <c:pt idx="54">
                  <c:v>03.11.21</c:v>
                </c:pt>
                <c:pt idx="55">
                  <c:v>04.11.21</c:v>
                </c:pt>
                <c:pt idx="56">
                  <c:v>05.11.21</c:v>
                </c:pt>
                <c:pt idx="57">
                  <c:v>06.11.21</c:v>
                </c:pt>
                <c:pt idx="58">
                  <c:v>07.11.21</c:v>
                </c:pt>
                <c:pt idx="59">
                  <c:v>08.11.21</c:v>
                </c:pt>
                <c:pt idx="60">
                  <c:v>09.11.21</c:v>
                </c:pt>
                <c:pt idx="61">
                  <c:v>10.11.21</c:v>
                </c:pt>
                <c:pt idx="62">
                  <c:v>11.11.21</c:v>
                </c:pt>
                <c:pt idx="63">
                  <c:v>12.11.21</c:v>
                </c:pt>
                <c:pt idx="64">
                  <c:v>13.11.21</c:v>
                </c:pt>
                <c:pt idx="65">
                  <c:v>14.11.21</c:v>
                </c:pt>
                <c:pt idx="66">
                  <c:v>15.11.21</c:v>
                </c:pt>
                <c:pt idx="67">
                  <c:v>16.11.21</c:v>
                </c:pt>
                <c:pt idx="68">
                  <c:v>17.11.21</c:v>
                </c:pt>
                <c:pt idx="69">
                  <c:v>18.11.21</c:v>
                </c:pt>
                <c:pt idx="70">
                  <c:v>19.11.21</c:v>
                </c:pt>
                <c:pt idx="71">
                  <c:v>20.11.21</c:v>
                </c:pt>
                <c:pt idx="72">
                  <c:v>21.11.21</c:v>
                </c:pt>
                <c:pt idx="73">
                  <c:v>22.11.21</c:v>
                </c:pt>
                <c:pt idx="74">
                  <c:v>23.11.21</c:v>
                </c:pt>
                <c:pt idx="75">
                  <c:v>24.11.21</c:v>
                </c:pt>
                <c:pt idx="76">
                  <c:v>25.11.21</c:v>
                </c:pt>
                <c:pt idx="77">
                  <c:v>26.11.21</c:v>
                </c:pt>
                <c:pt idx="78">
                  <c:v>27.11.21</c:v>
                </c:pt>
                <c:pt idx="79">
                  <c:v>28.11.21</c:v>
                </c:pt>
                <c:pt idx="80">
                  <c:v>29.11.21</c:v>
                </c:pt>
                <c:pt idx="81">
                  <c:v>30.11.21</c:v>
                </c:pt>
                <c:pt idx="82">
                  <c:v>01.12.21</c:v>
                </c:pt>
                <c:pt idx="83">
                  <c:v>02.12.21</c:v>
                </c:pt>
                <c:pt idx="84">
                  <c:v>03.12.21</c:v>
                </c:pt>
                <c:pt idx="85">
                  <c:v>04.12.21</c:v>
                </c:pt>
                <c:pt idx="86">
                  <c:v>05.12.21</c:v>
                </c:pt>
                <c:pt idx="87">
                  <c:v>06.12.21</c:v>
                </c:pt>
                <c:pt idx="88">
                  <c:v>07.12.21</c:v>
                </c:pt>
                <c:pt idx="89">
                  <c:v>08.12.21</c:v>
                </c:pt>
                <c:pt idx="90">
                  <c:v>09.12.21</c:v>
                </c:pt>
                <c:pt idx="91">
                  <c:v>10.12.21</c:v>
                </c:pt>
                <c:pt idx="92">
                  <c:v>11.12.21</c:v>
                </c:pt>
                <c:pt idx="93">
                  <c:v>12.12.21</c:v>
                </c:pt>
                <c:pt idx="94">
                  <c:v>13.12.21</c:v>
                </c:pt>
                <c:pt idx="95">
                  <c:v>14.12.21</c:v>
                </c:pt>
                <c:pt idx="96">
                  <c:v>15.12.21</c:v>
                </c:pt>
                <c:pt idx="97">
                  <c:v>16.12.21</c:v>
                </c:pt>
                <c:pt idx="98">
                  <c:v>17.12.21</c:v>
                </c:pt>
                <c:pt idx="99">
                  <c:v>18.12.21</c:v>
                </c:pt>
                <c:pt idx="100">
                  <c:v>19.12.21</c:v>
                </c:pt>
                <c:pt idx="101">
                  <c:v>20.12.21</c:v>
                </c:pt>
                <c:pt idx="102">
                  <c:v>21.12.21</c:v>
                </c:pt>
                <c:pt idx="103">
                  <c:v>22.12.21</c:v>
                </c:pt>
                <c:pt idx="104">
                  <c:v>23.12.21</c:v>
                </c:pt>
                <c:pt idx="105">
                  <c:v>24.12.21</c:v>
                </c:pt>
                <c:pt idx="106">
                  <c:v>25.12.21</c:v>
                </c:pt>
                <c:pt idx="107">
                  <c:v>26.12.21</c:v>
                </c:pt>
                <c:pt idx="108">
                  <c:v>27.12.21</c:v>
                </c:pt>
                <c:pt idx="109">
                  <c:v>28.12.21</c:v>
                </c:pt>
                <c:pt idx="110">
                  <c:v>29.12.21</c:v>
                </c:pt>
                <c:pt idx="111">
                  <c:v>30.12.21</c:v>
                </c:pt>
                <c:pt idx="112">
                  <c:v>31.12.21</c:v>
                </c:pt>
                <c:pt idx="113">
                  <c:v>01.01.22</c:v>
                </c:pt>
                <c:pt idx="114">
                  <c:v>02.01.22</c:v>
                </c:pt>
                <c:pt idx="115">
                  <c:v>03.01.22</c:v>
                </c:pt>
                <c:pt idx="116">
                  <c:v>04.01.22</c:v>
                </c:pt>
                <c:pt idx="117">
                  <c:v>05.01.22</c:v>
                </c:pt>
                <c:pt idx="118">
                  <c:v>06.01.22</c:v>
                </c:pt>
                <c:pt idx="119">
                  <c:v>07.01.22</c:v>
                </c:pt>
                <c:pt idx="120">
                  <c:v>08.01.22</c:v>
                </c:pt>
                <c:pt idx="121">
                  <c:v>09.01.22</c:v>
                </c:pt>
                <c:pt idx="122">
                  <c:v>10.01.22</c:v>
                </c:pt>
                <c:pt idx="123">
                  <c:v>11.01.22</c:v>
                </c:pt>
                <c:pt idx="124">
                  <c:v>12.01.22</c:v>
                </c:pt>
                <c:pt idx="125">
                  <c:v>13.01.22</c:v>
                </c:pt>
                <c:pt idx="126">
                  <c:v>14.01.22</c:v>
                </c:pt>
                <c:pt idx="127">
                  <c:v>15.01.22</c:v>
                </c:pt>
                <c:pt idx="128">
                  <c:v>16.01.22</c:v>
                </c:pt>
                <c:pt idx="129">
                  <c:v>17.01.22</c:v>
                </c:pt>
                <c:pt idx="130">
                  <c:v>18.01.22</c:v>
                </c:pt>
                <c:pt idx="131">
                  <c:v>19.01.22</c:v>
                </c:pt>
                <c:pt idx="132">
                  <c:v>20.01.22</c:v>
                </c:pt>
                <c:pt idx="133">
                  <c:v>21.01.22</c:v>
                </c:pt>
                <c:pt idx="134">
                  <c:v>22.01.22</c:v>
                </c:pt>
                <c:pt idx="135">
                  <c:v>23.01.22</c:v>
                </c:pt>
                <c:pt idx="136">
                  <c:v>24.01.22</c:v>
                </c:pt>
                <c:pt idx="137">
                  <c:v>25.01.22</c:v>
                </c:pt>
                <c:pt idx="138">
                  <c:v>26.01.22</c:v>
                </c:pt>
                <c:pt idx="139">
                  <c:v>27.01.22</c:v>
                </c:pt>
                <c:pt idx="140">
                  <c:v>28.01.22</c:v>
                </c:pt>
                <c:pt idx="141">
                  <c:v>29.01.22</c:v>
                </c:pt>
                <c:pt idx="142">
                  <c:v>30.01.22</c:v>
                </c:pt>
                <c:pt idx="143">
                  <c:v>31.01.22</c:v>
                </c:pt>
                <c:pt idx="144">
                  <c:v>01.02.22</c:v>
                </c:pt>
                <c:pt idx="145">
                  <c:v>02.02.22</c:v>
                </c:pt>
                <c:pt idx="146">
                  <c:v>03.02.22</c:v>
                </c:pt>
                <c:pt idx="147">
                  <c:v>04.02.22</c:v>
                </c:pt>
                <c:pt idx="148">
                  <c:v>05.02.22</c:v>
                </c:pt>
                <c:pt idx="149">
                  <c:v>06.02.22</c:v>
                </c:pt>
                <c:pt idx="150">
                  <c:v>07.02.22</c:v>
                </c:pt>
                <c:pt idx="151">
                  <c:v>08.02.22</c:v>
                </c:pt>
                <c:pt idx="152">
                  <c:v>09.02.22</c:v>
                </c:pt>
                <c:pt idx="153">
                  <c:v>10.02.22</c:v>
                </c:pt>
                <c:pt idx="154">
                  <c:v>11.02.22</c:v>
                </c:pt>
                <c:pt idx="155">
                  <c:v>12.02.22</c:v>
                </c:pt>
                <c:pt idx="156">
                  <c:v>13.02.22</c:v>
                </c:pt>
                <c:pt idx="157">
                  <c:v>14.02.22</c:v>
                </c:pt>
                <c:pt idx="158">
                  <c:v>15.02.22</c:v>
                </c:pt>
                <c:pt idx="159">
                  <c:v>16.02.22</c:v>
                </c:pt>
                <c:pt idx="160">
                  <c:v>17.02.22</c:v>
                </c:pt>
                <c:pt idx="161">
                  <c:v>18.02.22</c:v>
                </c:pt>
                <c:pt idx="162">
                  <c:v>19.02.22</c:v>
                </c:pt>
                <c:pt idx="163">
                  <c:v>20.02.22</c:v>
                </c:pt>
                <c:pt idx="164">
                  <c:v>21.02.22</c:v>
                </c:pt>
                <c:pt idx="165">
                  <c:v>22.02.22</c:v>
                </c:pt>
                <c:pt idx="166">
                  <c:v>23.02.22</c:v>
                </c:pt>
                <c:pt idx="167">
                  <c:v>24.02.22</c:v>
                </c:pt>
                <c:pt idx="168">
                  <c:v>25.02.22</c:v>
                </c:pt>
                <c:pt idx="169">
                  <c:v>26.02.22</c:v>
                </c:pt>
                <c:pt idx="170">
                  <c:v>27.02.22</c:v>
                </c:pt>
                <c:pt idx="171">
                  <c:v>28.02.22</c:v>
                </c:pt>
                <c:pt idx="172">
                  <c:v>01.03.22</c:v>
                </c:pt>
                <c:pt idx="173">
                  <c:v>02.03.22</c:v>
                </c:pt>
                <c:pt idx="174">
                  <c:v>03.03.22</c:v>
                </c:pt>
                <c:pt idx="175">
                  <c:v>04.03.22</c:v>
                </c:pt>
                <c:pt idx="176">
                  <c:v>05.03.22</c:v>
                </c:pt>
                <c:pt idx="177">
                  <c:v>06.03.22</c:v>
                </c:pt>
                <c:pt idx="178">
                  <c:v>07.03.22</c:v>
                </c:pt>
                <c:pt idx="179">
                  <c:v>08.03.22</c:v>
                </c:pt>
                <c:pt idx="180">
                  <c:v>09.03.22</c:v>
                </c:pt>
                <c:pt idx="181">
                  <c:v>10.03.22</c:v>
                </c:pt>
                <c:pt idx="182">
                  <c:v>11.03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59</c:v>
                </c:pt>
                <c:pt idx="1">
                  <c:v>62</c:v>
                </c:pt>
                <c:pt idx="2">
                  <c:v>61</c:v>
                </c:pt>
                <c:pt idx="3">
                  <c:v>63</c:v>
                </c:pt>
                <c:pt idx="4">
                  <c:v>62</c:v>
                </c:pt>
                <c:pt idx="5">
                  <c:v>59</c:v>
                </c:pt>
                <c:pt idx="6">
                  <c:v>60</c:v>
                </c:pt>
                <c:pt idx="7">
                  <c:v>60</c:v>
                </c:pt>
                <c:pt idx="8">
                  <c:v>59</c:v>
                </c:pt>
                <c:pt idx="9">
                  <c:v>59</c:v>
                </c:pt>
                <c:pt idx="10">
                  <c:v>57</c:v>
                </c:pt>
                <c:pt idx="11">
                  <c:v>60</c:v>
                </c:pt>
                <c:pt idx="12">
                  <c:v>63</c:v>
                </c:pt>
                <c:pt idx="13">
                  <c:v>63</c:v>
                </c:pt>
                <c:pt idx="14">
                  <c:v>64</c:v>
                </c:pt>
                <c:pt idx="15">
                  <c:v>62</c:v>
                </c:pt>
                <c:pt idx="16">
                  <c:v>62</c:v>
                </c:pt>
                <c:pt idx="17">
                  <c:v>64</c:v>
                </c:pt>
                <c:pt idx="18">
                  <c:v>68</c:v>
                </c:pt>
                <c:pt idx="19">
                  <c:v>71</c:v>
                </c:pt>
                <c:pt idx="20">
                  <c:v>79</c:v>
                </c:pt>
                <c:pt idx="21">
                  <c:v>80</c:v>
                </c:pt>
                <c:pt idx="22">
                  <c:v>84</c:v>
                </c:pt>
                <c:pt idx="23">
                  <c:v>84</c:v>
                </c:pt>
                <c:pt idx="24">
                  <c:v>83</c:v>
                </c:pt>
                <c:pt idx="25">
                  <c:v>82</c:v>
                </c:pt>
                <c:pt idx="26">
                  <c:v>83</c:v>
                </c:pt>
                <c:pt idx="27">
                  <c:v>88</c:v>
                </c:pt>
                <c:pt idx="28">
                  <c:v>91</c:v>
                </c:pt>
                <c:pt idx="29">
                  <c:v>92</c:v>
                </c:pt>
                <c:pt idx="30">
                  <c:v>91</c:v>
                </c:pt>
                <c:pt idx="31">
                  <c:v>85</c:v>
                </c:pt>
                <c:pt idx="32">
                  <c:v>94</c:v>
                </c:pt>
                <c:pt idx="33">
                  <c:v>91</c:v>
                </c:pt>
                <c:pt idx="34">
                  <c:v>94</c:v>
                </c:pt>
                <c:pt idx="35">
                  <c:v>97</c:v>
                </c:pt>
                <c:pt idx="36">
                  <c:v>100</c:v>
                </c:pt>
                <c:pt idx="37">
                  <c:v>106</c:v>
                </c:pt>
                <c:pt idx="38">
                  <c:v>123</c:v>
                </c:pt>
                <c:pt idx="39">
                  <c:v>136</c:v>
                </c:pt>
                <c:pt idx="40">
                  <c:v>144</c:v>
                </c:pt>
                <c:pt idx="41">
                  <c:v>151</c:v>
                </c:pt>
                <c:pt idx="42">
                  <c:v>162</c:v>
                </c:pt>
                <c:pt idx="43">
                  <c:v>175</c:v>
                </c:pt>
                <c:pt idx="44">
                  <c:v>185</c:v>
                </c:pt>
                <c:pt idx="45">
                  <c:v>210</c:v>
                </c:pt>
                <c:pt idx="46">
                  <c:v>217</c:v>
                </c:pt>
                <c:pt idx="47">
                  <c:v>238</c:v>
                </c:pt>
                <c:pt idx="48">
                  <c:v>252</c:v>
                </c:pt>
                <c:pt idx="49">
                  <c:v>282</c:v>
                </c:pt>
                <c:pt idx="50">
                  <c:v>298</c:v>
                </c:pt>
                <c:pt idx="51">
                  <c:v>304</c:v>
                </c:pt>
                <c:pt idx="52">
                  <c:v>343</c:v>
                </c:pt>
                <c:pt idx="53">
                  <c:v>364</c:v>
                </c:pt>
                <c:pt idx="54">
                  <c:v>387</c:v>
                </c:pt>
                <c:pt idx="55">
                  <c:v>401</c:v>
                </c:pt>
                <c:pt idx="56">
                  <c:v>419</c:v>
                </c:pt>
                <c:pt idx="57">
                  <c:v>427</c:v>
                </c:pt>
                <c:pt idx="58">
                  <c:v>435</c:v>
                </c:pt>
                <c:pt idx="59">
                  <c:v>456</c:v>
                </c:pt>
                <c:pt idx="60">
                  <c:v>487</c:v>
                </c:pt>
                <c:pt idx="61">
                  <c:v>501</c:v>
                </c:pt>
                <c:pt idx="62">
                  <c:v>533</c:v>
                </c:pt>
                <c:pt idx="63">
                  <c:v>531</c:v>
                </c:pt>
                <c:pt idx="64">
                  <c:v>565</c:v>
                </c:pt>
                <c:pt idx="65">
                  <c:v>570</c:v>
                </c:pt>
                <c:pt idx="66">
                  <c:v>570</c:v>
                </c:pt>
                <c:pt idx="67">
                  <c:v>595</c:v>
                </c:pt>
                <c:pt idx="68">
                  <c:v>600</c:v>
                </c:pt>
                <c:pt idx="69">
                  <c:v>624</c:v>
                </c:pt>
                <c:pt idx="70">
                  <c:v>665</c:v>
                </c:pt>
                <c:pt idx="71">
                  <c:v>694</c:v>
                </c:pt>
                <c:pt idx="72">
                  <c:v>699</c:v>
                </c:pt>
                <c:pt idx="73">
                  <c:v>696</c:v>
                </c:pt>
                <c:pt idx="74">
                  <c:v>732</c:v>
                </c:pt>
                <c:pt idx="75">
                  <c:v>720</c:v>
                </c:pt>
                <c:pt idx="76">
                  <c:v>738</c:v>
                </c:pt>
                <c:pt idx="77">
                  <c:v>727</c:v>
                </c:pt>
                <c:pt idx="78">
                  <c:v>734</c:v>
                </c:pt>
                <c:pt idx="79">
                  <c:v>747</c:v>
                </c:pt>
                <c:pt idx="80">
                  <c:v>737</c:v>
                </c:pt>
                <c:pt idx="81">
                  <c:v>731</c:v>
                </c:pt>
                <c:pt idx="82">
                  <c:v>748</c:v>
                </c:pt>
                <c:pt idx="83">
                  <c:v>721</c:v>
                </c:pt>
                <c:pt idx="84">
                  <c:v>693</c:v>
                </c:pt>
                <c:pt idx="85">
                  <c:v>686</c:v>
                </c:pt>
                <c:pt idx="86">
                  <c:v>668</c:v>
                </c:pt>
                <c:pt idx="87">
                  <c:v>627</c:v>
                </c:pt>
                <c:pt idx="88">
                  <c:v>608</c:v>
                </c:pt>
                <c:pt idx="89">
                  <c:v>596</c:v>
                </c:pt>
                <c:pt idx="90">
                  <c:v>569</c:v>
                </c:pt>
                <c:pt idx="91">
                  <c:v>549</c:v>
                </c:pt>
                <c:pt idx="92">
                  <c:v>538</c:v>
                </c:pt>
                <c:pt idx="93">
                  <c:v>518</c:v>
                </c:pt>
                <c:pt idx="94">
                  <c:v>486</c:v>
                </c:pt>
                <c:pt idx="95">
                  <c:v>464</c:v>
                </c:pt>
                <c:pt idx="96">
                  <c:v>441</c:v>
                </c:pt>
                <c:pt idx="97">
                  <c:v>414</c:v>
                </c:pt>
                <c:pt idx="98">
                  <c:v>390</c:v>
                </c:pt>
                <c:pt idx="99">
                  <c:v>387</c:v>
                </c:pt>
                <c:pt idx="100">
                  <c:v>385</c:v>
                </c:pt>
                <c:pt idx="101">
                  <c:v>360</c:v>
                </c:pt>
                <c:pt idx="102">
                  <c:v>359</c:v>
                </c:pt>
                <c:pt idx="103">
                  <c:v>344</c:v>
                </c:pt>
                <c:pt idx="104">
                  <c:v>335</c:v>
                </c:pt>
                <c:pt idx="105">
                  <c:v>308</c:v>
                </c:pt>
                <c:pt idx="106">
                  <c:v>305</c:v>
                </c:pt>
                <c:pt idx="107">
                  <c:v>301</c:v>
                </c:pt>
                <c:pt idx="108">
                  <c:v>292</c:v>
                </c:pt>
                <c:pt idx="109">
                  <c:v>299</c:v>
                </c:pt>
                <c:pt idx="110">
                  <c:v>302</c:v>
                </c:pt>
                <c:pt idx="111">
                  <c:v>303</c:v>
                </c:pt>
                <c:pt idx="112">
                  <c:v>299</c:v>
                </c:pt>
                <c:pt idx="113">
                  <c:v>289</c:v>
                </c:pt>
                <c:pt idx="114">
                  <c:v>297</c:v>
                </c:pt>
                <c:pt idx="115">
                  <c:v>296</c:v>
                </c:pt>
                <c:pt idx="116">
                  <c:v>300</c:v>
                </c:pt>
                <c:pt idx="117">
                  <c:v>303</c:v>
                </c:pt>
                <c:pt idx="118">
                  <c:v>311</c:v>
                </c:pt>
                <c:pt idx="119">
                  <c:v>324</c:v>
                </c:pt>
                <c:pt idx="120">
                  <c:v>327</c:v>
                </c:pt>
                <c:pt idx="121">
                  <c:v>333</c:v>
                </c:pt>
                <c:pt idx="122">
                  <c:v>332</c:v>
                </c:pt>
                <c:pt idx="123">
                  <c:v>349</c:v>
                </c:pt>
                <c:pt idx="124">
                  <c:v>399</c:v>
                </c:pt>
                <c:pt idx="125">
                  <c:v>415</c:v>
                </c:pt>
                <c:pt idx="126">
                  <c:v>444</c:v>
                </c:pt>
                <c:pt idx="127">
                  <c:v>463</c:v>
                </c:pt>
                <c:pt idx="128">
                  <c:v>482</c:v>
                </c:pt>
                <c:pt idx="129">
                  <c:v>556</c:v>
                </c:pt>
                <c:pt idx="130">
                  <c:v>623</c:v>
                </c:pt>
                <c:pt idx="131">
                  <c:v>711</c:v>
                </c:pt>
                <c:pt idx="132">
                  <c:v>800</c:v>
                </c:pt>
                <c:pt idx="133">
                  <c:v>808</c:v>
                </c:pt>
                <c:pt idx="134">
                  <c:v>792</c:v>
                </c:pt>
                <c:pt idx="135">
                  <c:v>809</c:v>
                </c:pt>
                <c:pt idx="136">
                  <c:v>900</c:v>
                </c:pt>
                <c:pt idx="137">
                  <c:v>1011</c:v>
                </c:pt>
                <c:pt idx="138">
                  <c:v>1132</c:v>
                </c:pt>
                <c:pt idx="139">
                  <c:v>1151</c:v>
                </c:pt>
                <c:pt idx="140">
                  <c:v>1203</c:v>
                </c:pt>
                <c:pt idx="141">
                  <c:v>1152</c:v>
                </c:pt>
                <c:pt idx="142">
                  <c:v>1152</c:v>
                </c:pt>
                <c:pt idx="143">
                  <c:v>1225</c:v>
                </c:pt>
                <c:pt idx="144">
                  <c:v>1364</c:v>
                </c:pt>
                <c:pt idx="145">
                  <c:v>1413</c:v>
                </c:pt>
                <c:pt idx="146">
                  <c:v>1352</c:v>
                </c:pt>
                <c:pt idx="147">
                  <c:v>1285</c:v>
                </c:pt>
                <c:pt idx="148">
                  <c:v>1230</c:v>
                </c:pt>
                <c:pt idx="149">
                  <c:v>1145</c:v>
                </c:pt>
                <c:pt idx="150">
                  <c:v>1149</c:v>
                </c:pt>
                <c:pt idx="151">
                  <c:v>1193</c:v>
                </c:pt>
                <c:pt idx="152">
                  <c:v>1189</c:v>
                </c:pt>
                <c:pt idx="153">
                  <c:v>1072</c:v>
                </c:pt>
                <c:pt idx="154">
                  <c:v>1011</c:v>
                </c:pt>
                <c:pt idx="155">
                  <c:v>896</c:v>
                </c:pt>
                <c:pt idx="156">
                  <c:v>816</c:v>
                </c:pt>
                <c:pt idx="157">
                  <c:v>838</c:v>
                </c:pt>
                <c:pt idx="158">
                  <c:v>868</c:v>
                </c:pt>
                <c:pt idx="159">
                  <c:v>884</c:v>
                </c:pt>
                <c:pt idx="160">
                  <c:v>801</c:v>
                </c:pt>
                <c:pt idx="161">
                  <c:v>755</c:v>
                </c:pt>
                <c:pt idx="162">
                  <c:v>708</c:v>
                </c:pt>
                <c:pt idx="163">
                  <c:v>640</c:v>
                </c:pt>
                <c:pt idx="164">
                  <c:v>629</c:v>
                </c:pt>
                <c:pt idx="165">
                  <c:v>636</c:v>
                </c:pt>
                <c:pt idx="166">
                  <c:v>640</c:v>
                </c:pt>
                <c:pt idx="167">
                  <c:v>552</c:v>
                </c:pt>
                <c:pt idx="168">
                  <c:v>506</c:v>
                </c:pt>
                <c:pt idx="169">
                  <c:v>472</c:v>
                </c:pt>
                <c:pt idx="170">
                  <c:v>437</c:v>
                </c:pt>
                <c:pt idx="171">
                  <c:v>449</c:v>
                </c:pt>
                <c:pt idx="172">
                  <c:v>453</c:v>
                </c:pt>
                <c:pt idx="173">
                  <c:v>475</c:v>
                </c:pt>
                <c:pt idx="174">
                  <c:v>449</c:v>
                </c:pt>
                <c:pt idx="175">
                  <c:v>431</c:v>
                </c:pt>
                <c:pt idx="176">
                  <c:v>416</c:v>
                </c:pt>
                <c:pt idx="177">
                  <c:v>396</c:v>
                </c:pt>
                <c:pt idx="178">
                  <c:v>425</c:v>
                </c:pt>
                <c:pt idx="179">
                  <c:v>459</c:v>
                </c:pt>
                <c:pt idx="180">
                  <c:v>479</c:v>
                </c:pt>
                <c:pt idx="181">
                  <c:v>450</c:v>
                </c:pt>
                <c:pt idx="182">
                  <c:v>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9.325021500076724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10.09.21</c:v>
                </c:pt>
                <c:pt idx="1">
                  <c:v>11.09.21</c:v>
                </c:pt>
                <c:pt idx="2">
                  <c:v>12.09.21</c:v>
                </c:pt>
                <c:pt idx="3">
                  <c:v>13.09.21</c:v>
                </c:pt>
                <c:pt idx="4">
                  <c:v>14.09.21</c:v>
                </c:pt>
                <c:pt idx="5">
                  <c:v>15.09.21</c:v>
                </c:pt>
                <c:pt idx="6">
                  <c:v>16.09.21</c:v>
                </c:pt>
                <c:pt idx="7">
                  <c:v>17.09.21</c:v>
                </c:pt>
                <c:pt idx="8">
                  <c:v>18.09.21</c:v>
                </c:pt>
                <c:pt idx="9">
                  <c:v>19.09.21</c:v>
                </c:pt>
                <c:pt idx="10">
                  <c:v>20.09.21</c:v>
                </c:pt>
                <c:pt idx="11">
                  <c:v>21.09.21</c:v>
                </c:pt>
                <c:pt idx="12">
                  <c:v>22.09.21</c:v>
                </c:pt>
                <c:pt idx="13">
                  <c:v>23.09.21</c:v>
                </c:pt>
                <c:pt idx="14">
                  <c:v>24.09.21</c:v>
                </c:pt>
                <c:pt idx="15">
                  <c:v>25.09.21</c:v>
                </c:pt>
                <c:pt idx="16">
                  <c:v>26.09.21</c:v>
                </c:pt>
                <c:pt idx="17">
                  <c:v>27.09.21</c:v>
                </c:pt>
                <c:pt idx="18">
                  <c:v>28.09.21</c:v>
                </c:pt>
                <c:pt idx="19">
                  <c:v>29.09.21</c:v>
                </c:pt>
                <c:pt idx="20">
                  <c:v>30.09.21</c:v>
                </c:pt>
                <c:pt idx="21">
                  <c:v>01.10.21</c:v>
                </c:pt>
                <c:pt idx="22">
                  <c:v>02.10.21</c:v>
                </c:pt>
                <c:pt idx="23">
                  <c:v>03.10.21</c:v>
                </c:pt>
                <c:pt idx="24">
                  <c:v>04.10.21</c:v>
                </c:pt>
                <c:pt idx="25">
                  <c:v>05.10.21</c:v>
                </c:pt>
                <c:pt idx="26">
                  <c:v>06.10.21</c:v>
                </c:pt>
                <c:pt idx="27">
                  <c:v>07.10.21</c:v>
                </c:pt>
                <c:pt idx="28">
                  <c:v>08.10.21</c:v>
                </c:pt>
                <c:pt idx="29">
                  <c:v>09.10.21</c:v>
                </c:pt>
                <c:pt idx="30">
                  <c:v>10.10.21</c:v>
                </c:pt>
                <c:pt idx="31">
                  <c:v>11.10.21</c:v>
                </c:pt>
                <c:pt idx="32">
                  <c:v>12.10.21</c:v>
                </c:pt>
                <c:pt idx="33">
                  <c:v>13.10.21</c:v>
                </c:pt>
                <c:pt idx="34">
                  <c:v>14.10.21</c:v>
                </c:pt>
                <c:pt idx="35">
                  <c:v>15.10.21</c:v>
                </c:pt>
                <c:pt idx="36">
                  <c:v>16.10.21</c:v>
                </c:pt>
                <c:pt idx="37">
                  <c:v>17.10.21</c:v>
                </c:pt>
                <c:pt idx="38">
                  <c:v>18.10.21</c:v>
                </c:pt>
                <c:pt idx="39">
                  <c:v>19.10.21</c:v>
                </c:pt>
                <c:pt idx="40">
                  <c:v>20.10.21</c:v>
                </c:pt>
                <c:pt idx="41">
                  <c:v>21.10.21</c:v>
                </c:pt>
                <c:pt idx="42">
                  <c:v>22.10.21</c:v>
                </c:pt>
                <c:pt idx="43">
                  <c:v>23.10.21</c:v>
                </c:pt>
                <c:pt idx="44">
                  <c:v>24.10.21</c:v>
                </c:pt>
                <c:pt idx="45">
                  <c:v>25.10.21</c:v>
                </c:pt>
                <c:pt idx="46">
                  <c:v>26.10.21</c:v>
                </c:pt>
                <c:pt idx="47">
                  <c:v>27.10.21</c:v>
                </c:pt>
                <c:pt idx="48">
                  <c:v>28.10.21</c:v>
                </c:pt>
                <c:pt idx="49">
                  <c:v>29.10.21</c:v>
                </c:pt>
                <c:pt idx="50">
                  <c:v>30.10.21</c:v>
                </c:pt>
                <c:pt idx="51">
                  <c:v>31.10.21</c:v>
                </c:pt>
                <c:pt idx="52">
                  <c:v>01.11.21</c:v>
                </c:pt>
                <c:pt idx="53">
                  <c:v>02.11.21</c:v>
                </c:pt>
                <c:pt idx="54">
                  <c:v>03.11.21</c:v>
                </c:pt>
                <c:pt idx="55">
                  <c:v>04.11.21</c:v>
                </c:pt>
                <c:pt idx="56">
                  <c:v>05.11.21</c:v>
                </c:pt>
                <c:pt idx="57">
                  <c:v>06.11.21</c:v>
                </c:pt>
                <c:pt idx="58">
                  <c:v>07.11.21</c:v>
                </c:pt>
                <c:pt idx="59">
                  <c:v>08.11.21</c:v>
                </c:pt>
                <c:pt idx="60">
                  <c:v>09.11.21</c:v>
                </c:pt>
                <c:pt idx="61">
                  <c:v>10.11.21</c:v>
                </c:pt>
                <c:pt idx="62">
                  <c:v>11.11.21</c:v>
                </c:pt>
                <c:pt idx="63">
                  <c:v>12.11.21</c:v>
                </c:pt>
                <c:pt idx="64">
                  <c:v>13.11.21</c:v>
                </c:pt>
                <c:pt idx="65">
                  <c:v>14.11.21</c:v>
                </c:pt>
                <c:pt idx="66">
                  <c:v>15.11.21</c:v>
                </c:pt>
                <c:pt idx="67">
                  <c:v>16.11.21</c:v>
                </c:pt>
                <c:pt idx="68">
                  <c:v>17.11.21</c:v>
                </c:pt>
                <c:pt idx="69">
                  <c:v>18.11.21</c:v>
                </c:pt>
                <c:pt idx="70">
                  <c:v>19.11.21</c:v>
                </c:pt>
                <c:pt idx="71">
                  <c:v>20.11.21</c:v>
                </c:pt>
                <c:pt idx="72">
                  <c:v>21.11.21</c:v>
                </c:pt>
                <c:pt idx="73">
                  <c:v>22.11.21</c:v>
                </c:pt>
                <c:pt idx="74">
                  <c:v>23.11.21</c:v>
                </c:pt>
                <c:pt idx="75">
                  <c:v>24.11.21</c:v>
                </c:pt>
                <c:pt idx="76">
                  <c:v>25.11.21</c:v>
                </c:pt>
                <c:pt idx="77">
                  <c:v>26.11.21</c:v>
                </c:pt>
                <c:pt idx="78">
                  <c:v>27.11.21</c:v>
                </c:pt>
                <c:pt idx="79">
                  <c:v>28.11.21</c:v>
                </c:pt>
                <c:pt idx="80">
                  <c:v>29.11.21</c:v>
                </c:pt>
                <c:pt idx="81">
                  <c:v>30.11.21</c:v>
                </c:pt>
                <c:pt idx="82">
                  <c:v>01.12.21</c:v>
                </c:pt>
                <c:pt idx="83">
                  <c:v>02.12.21</c:v>
                </c:pt>
                <c:pt idx="84">
                  <c:v>03.12.21</c:v>
                </c:pt>
                <c:pt idx="85">
                  <c:v>04.12.21</c:v>
                </c:pt>
                <c:pt idx="86">
                  <c:v>05.12.21</c:v>
                </c:pt>
                <c:pt idx="87">
                  <c:v>06.12.21</c:v>
                </c:pt>
                <c:pt idx="88">
                  <c:v>07.12.21</c:v>
                </c:pt>
                <c:pt idx="89">
                  <c:v>08.12.21</c:v>
                </c:pt>
                <c:pt idx="90">
                  <c:v>09.12.21</c:v>
                </c:pt>
                <c:pt idx="91">
                  <c:v>10.12.21</c:v>
                </c:pt>
                <c:pt idx="92">
                  <c:v>11.12.21</c:v>
                </c:pt>
                <c:pt idx="93">
                  <c:v>12.12.21</c:v>
                </c:pt>
                <c:pt idx="94">
                  <c:v>13.12.21</c:v>
                </c:pt>
                <c:pt idx="95">
                  <c:v>14.12.21</c:v>
                </c:pt>
                <c:pt idx="96">
                  <c:v>15.12.21</c:v>
                </c:pt>
                <c:pt idx="97">
                  <c:v>16.12.21</c:v>
                </c:pt>
                <c:pt idx="98">
                  <c:v>17.12.21</c:v>
                </c:pt>
                <c:pt idx="99">
                  <c:v>18.12.21</c:v>
                </c:pt>
                <c:pt idx="100">
                  <c:v>19.12.21</c:v>
                </c:pt>
                <c:pt idx="101">
                  <c:v>20.12.21</c:v>
                </c:pt>
                <c:pt idx="102">
                  <c:v>21.12.21</c:v>
                </c:pt>
                <c:pt idx="103">
                  <c:v>22.12.21</c:v>
                </c:pt>
                <c:pt idx="104">
                  <c:v>23.12.21</c:v>
                </c:pt>
                <c:pt idx="105">
                  <c:v>24.12.21</c:v>
                </c:pt>
                <c:pt idx="106">
                  <c:v>25.12.21</c:v>
                </c:pt>
                <c:pt idx="107">
                  <c:v>26.12.21</c:v>
                </c:pt>
                <c:pt idx="108">
                  <c:v>27.12.21</c:v>
                </c:pt>
                <c:pt idx="109">
                  <c:v>28.12.21</c:v>
                </c:pt>
                <c:pt idx="110">
                  <c:v>29.12.21</c:v>
                </c:pt>
                <c:pt idx="111">
                  <c:v>30.12.21</c:v>
                </c:pt>
                <c:pt idx="112">
                  <c:v>31.12.21</c:v>
                </c:pt>
                <c:pt idx="113">
                  <c:v>01.01.22</c:v>
                </c:pt>
                <c:pt idx="114">
                  <c:v>02.01.22</c:v>
                </c:pt>
                <c:pt idx="115">
                  <c:v>03.01.22</c:v>
                </c:pt>
                <c:pt idx="116">
                  <c:v>04.01.22</c:v>
                </c:pt>
                <c:pt idx="117">
                  <c:v>05.01.22</c:v>
                </c:pt>
                <c:pt idx="118">
                  <c:v>06.01.22</c:v>
                </c:pt>
                <c:pt idx="119">
                  <c:v>07.01.22</c:v>
                </c:pt>
                <c:pt idx="120">
                  <c:v>08.01.22</c:v>
                </c:pt>
                <c:pt idx="121">
                  <c:v>09.01.22</c:v>
                </c:pt>
                <c:pt idx="122">
                  <c:v>10.01.22</c:v>
                </c:pt>
                <c:pt idx="123">
                  <c:v>11.01.22</c:v>
                </c:pt>
                <c:pt idx="124">
                  <c:v>12.01.22</c:v>
                </c:pt>
                <c:pt idx="125">
                  <c:v>13.01.22</c:v>
                </c:pt>
                <c:pt idx="126">
                  <c:v>14.01.22</c:v>
                </c:pt>
                <c:pt idx="127">
                  <c:v>15.01.22</c:v>
                </c:pt>
                <c:pt idx="128">
                  <c:v>16.01.22</c:v>
                </c:pt>
                <c:pt idx="129">
                  <c:v>17.01.22</c:v>
                </c:pt>
                <c:pt idx="130">
                  <c:v>18.01.22</c:v>
                </c:pt>
                <c:pt idx="131">
                  <c:v>19.01.22</c:v>
                </c:pt>
                <c:pt idx="132">
                  <c:v>20.01.22</c:v>
                </c:pt>
                <c:pt idx="133">
                  <c:v>21.01.22</c:v>
                </c:pt>
                <c:pt idx="134">
                  <c:v>22.01.22</c:v>
                </c:pt>
                <c:pt idx="135">
                  <c:v>23.01.22</c:v>
                </c:pt>
                <c:pt idx="136">
                  <c:v>24.01.22</c:v>
                </c:pt>
                <c:pt idx="137">
                  <c:v>25.01.22</c:v>
                </c:pt>
                <c:pt idx="138">
                  <c:v>26.01.22</c:v>
                </c:pt>
                <c:pt idx="139">
                  <c:v>27.01.22</c:v>
                </c:pt>
                <c:pt idx="140">
                  <c:v>28.01.22</c:v>
                </c:pt>
                <c:pt idx="141">
                  <c:v>29.01.22</c:v>
                </c:pt>
                <c:pt idx="142">
                  <c:v>30.01.22</c:v>
                </c:pt>
                <c:pt idx="143">
                  <c:v>31.01.22</c:v>
                </c:pt>
                <c:pt idx="144">
                  <c:v>01.02.22</c:v>
                </c:pt>
                <c:pt idx="145">
                  <c:v>02.02.22</c:v>
                </c:pt>
                <c:pt idx="146">
                  <c:v>03.02.22</c:v>
                </c:pt>
                <c:pt idx="147">
                  <c:v>04.02.22</c:v>
                </c:pt>
                <c:pt idx="148">
                  <c:v>05.02.22</c:v>
                </c:pt>
                <c:pt idx="149">
                  <c:v>06.02.22</c:v>
                </c:pt>
                <c:pt idx="150">
                  <c:v>07.02.22</c:v>
                </c:pt>
                <c:pt idx="151">
                  <c:v>08.02.22</c:v>
                </c:pt>
                <c:pt idx="152">
                  <c:v>09.02.22</c:v>
                </c:pt>
                <c:pt idx="153">
                  <c:v>10.02.22</c:v>
                </c:pt>
                <c:pt idx="154">
                  <c:v>11.02.22</c:v>
                </c:pt>
                <c:pt idx="155">
                  <c:v>12.02.22</c:v>
                </c:pt>
                <c:pt idx="156">
                  <c:v>13.02.22</c:v>
                </c:pt>
                <c:pt idx="157">
                  <c:v>14.02.22</c:v>
                </c:pt>
                <c:pt idx="158">
                  <c:v>15.02.22</c:v>
                </c:pt>
                <c:pt idx="159">
                  <c:v>16.02.22</c:v>
                </c:pt>
                <c:pt idx="160">
                  <c:v>17.02.22</c:v>
                </c:pt>
                <c:pt idx="161">
                  <c:v>18.02.22</c:v>
                </c:pt>
                <c:pt idx="162">
                  <c:v>19.02.22</c:v>
                </c:pt>
                <c:pt idx="163">
                  <c:v>20.02.22</c:v>
                </c:pt>
                <c:pt idx="164">
                  <c:v>21.02.22</c:v>
                </c:pt>
                <c:pt idx="165">
                  <c:v>22.02.22</c:v>
                </c:pt>
                <c:pt idx="166">
                  <c:v>23.02.22</c:v>
                </c:pt>
                <c:pt idx="167">
                  <c:v>24.02.22</c:v>
                </c:pt>
                <c:pt idx="168">
                  <c:v>25.02.22</c:v>
                </c:pt>
                <c:pt idx="169">
                  <c:v>26.02.22</c:v>
                </c:pt>
                <c:pt idx="170">
                  <c:v>27.02.22</c:v>
                </c:pt>
                <c:pt idx="171">
                  <c:v>28.02.22</c:v>
                </c:pt>
                <c:pt idx="172">
                  <c:v>01.03.22</c:v>
                </c:pt>
                <c:pt idx="173">
                  <c:v>02.03.22</c:v>
                </c:pt>
                <c:pt idx="174">
                  <c:v>03.03.22</c:v>
                </c:pt>
                <c:pt idx="175">
                  <c:v>04.03.22</c:v>
                </c:pt>
                <c:pt idx="176">
                  <c:v>05.03.22</c:v>
                </c:pt>
                <c:pt idx="177">
                  <c:v>06.03.22</c:v>
                </c:pt>
                <c:pt idx="178">
                  <c:v>07.03.22</c:v>
                </c:pt>
                <c:pt idx="179">
                  <c:v>08.03.22</c:v>
                </c:pt>
                <c:pt idx="180">
                  <c:v>09.03.22</c:v>
                </c:pt>
                <c:pt idx="181">
                  <c:v>10.03.22</c:v>
                </c:pt>
                <c:pt idx="182">
                  <c:v>11.03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40</c:v>
                </c:pt>
                <c:pt idx="1">
                  <c:v>139</c:v>
                </c:pt>
                <c:pt idx="2">
                  <c:v>140</c:v>
                </c:pt>
                <c:pt idx="3">
                  <c:v>141</c:v>
                </c:pt>
                <c:pt idx="4">
                  <c:v>144</c:v>
                </c:pt>
                <c:pt idx="5">
                  <c:v>146</c:v>
                </c:pt>
                <c:pt idx="6">
                  <c:v>148</c:v>
                </c:pt>
                <c:pt idx="7">
                  <c:v>146</c:v>
                </c:pt>
                <c:pt idx="8">
                  <c:v>148</c:v>
                </c:pt>
                <c:pt idx="9">
                  <c:v>149</c:v>
                </c:pt>
                <c:pt idx="10">
                  <c:v>154</c:v>
                </c:pt>
                <c:pt idx="11">
                  <c:v>156</c:v>
                </c:pt>
                <c:pt idx="12">
                  <c:v>160</c:v>
                </c:pt>
                <c:pt idx="13">
                  <c:v>163</c:v>
                </c:pt>
                <c:pt idx="14">
                  <c:v>170</c:v>
                </c:pt>
                <c:pt idx="15">
                  <c:v>176</c:v>
                </c:pt>
                <c:pt idx="16">
                  <c:v>178</c:v>
                </c:pt>
                <c:pt idx="17">
                  <c:v>179</c:v>
                </c:pt>
                <c:pt idx="18">
                  <c:v>184</c:v>
                </c:pt>
                <c:pt idx="19">
                  <c:v>190</c:v>
                </c:pt>
                <c:pt idx="20">
                  <c:v>199</c:v>
                </c:pt>
                <c:pt idx="21">
                  <c:v>201</c:v>
                </c:pt>
                <c:pt idx="22">
                  <c:v>202</c:v>
                </c:pt>
                <c:pt idx="23">
                  <c:v>209</c:v>
                </c:pt>
                <c:pt idx="24">
                  <c:v>208</c:v>
                </c:pt>
                <c:pt idx="25">
                  <c:v>217</c:v>
                </c:pt>
                <c:pt idx="26">
                  <c:v>221</c:v>
                </c:pt>
                <c:pt idx="27">
                  <c:v>223</c:v>
                </c:pt>
                <c:pt idx="28">
                  <c:v>224</c:v>
                </c:pt>
                <c:pt idx="29">
                  <c:v>224</c:v>
                </c:pt>
                <c:pt idx="30">
                  <c:v>222</c:v>
                </c:pt>
                <c:pt idx="31">
                  <c:v>233</c:v>
                </c:pt>
                <c:pt idx="32">
                  <c:v>245</c:v>
                </c:pt>
                <c:pt idx="33">
                  <c:v>246</c:v>
                </c:pt>
                <c:pt idx="34">
                  <c:v>256</c:v>
                </c:pt>
                <c:pt idx="35">
                  <c:v>266</c:v>
                </c:pt>
                <c:pt idx="36">
                  <c:v>271</c:v>
                </c:pt>
                <c:pt idx="37">
                  <c:v>274</c:v>
                </c:pt>
                <c:pt idx="38">
                  <c:v>296</c:v>
                </c:pt>
                <c:pt idx="39">
                  <c:v>306</c:v>
                </c:pt>
                <c:pt idx="40">
                  <c:v>324</c:v>
                </c:pt>
                <c:pt idx="41">
                  <c:v>363</c:v>
                </c:pt>
                <c:pt idx="42">
                  <c:v>390</c:v>
                </c:pt>
                <c:pt idx="43">
                  <c:v>419</c:v>
                </c:pt>
                <c:pt idx="44">
                  <c:v>423</c:v>
                </c:pt>
                <c:pt idx="45">
                  <c:v>466</c:v>
                </c:pt>
                <c:pt idx="46">
                  <c:v>512</c:v>
                </c:pt>
                <c:pt idx="47">
                  <c:v>561</c:v>
                </c:pt>
                <c:pt idx="48">
                  <c:v>574</c:v>
                </c:pt>
                <c:pt idx="49">
                  <c:v>634</c:v>
                </c:pt>
                <c:pt idx="50">
                  <c:v>680</c:v>
                </c:pt>
                <c:pt idx="51">
                  <c:v>707</c:v>
                </c:pt>
                <c:pt idx="52">
                  <c:v>768</c:v>
                </c:pt>
                <c:pt idx="53">
                  <c:v>849</c:v>
                </c:pt>
                <c:pt idx="54">
                  <c:v>921</c:v>
                </c:pt>
                <c:pt idx="55">
                  <c:v>965</c:v>
                </c:pt>
                <c:pt idx="56">
                  <c:v>1036</c:v>
                </c:pt>
                <c:pt idx="57">
                  <c:v>1092</c:v>
                </c:pt>
                <c:pt idx="58">
                  <c:v>1093</c:v>
                </c:pt>
                <c:pt idx="59">
                  <c:v>1134</c:v>
                </c:pt>
                <c:pt idx="60">
                  <c:v>1212</c:v>
                </c:pt>
                <c:pt idx="61">
                  <c:v>1314</c:v>
                </c:pt>
                <c:pt idx="62">
                  <c:v>1371</c:v>
                </c:pt>
                <c:pt idx="63">
                  <c:v>1440</c:v>
                </c:pt>
                <c:pt idx="64">
                  <c:v>1478</c:v>
                </c:pt>
                <c:pt idx="65">
                  <c:v>1486</c:v>
                </c:pt>
                <c:pt idx="66">
                  <c:v>1518</c:v>
                </c:pt>
                <c:pt idx="67">
                  <c:v>1630</c:v>
                </c:pt>
                <c:pt idx="68">
                  <c:v>1633</c:v>
                </c:pt>
                <c:pt idx="69">
                  <c:v>1691</c:v>
                </c:pt>
                <c:pt idx="70">
                  <c:v>1788</c:v>
                </c:pt>
                <c:pt idx="71">
                  <c:v>1885</c:v>
                </c:pt>
                <c:pt idx="72">
                  <c:v>1930</c:v>
                </c:pt>
                <c:pt idx="73">
                  <c:v>1941</c:v>
                </c:pt>
                <c:pt idx="74">
                  <c:v>2045</c:v>
                </c:pt>
                <c:pt idx="75">
                  <c:v>2030</c:v>
                </c:pt>
                <c:pt idx="76">
                  <c:v>2116</c:v>
                </c:pt>
                <c:pt idx="77">
                  <c:v>2146</c:v>
                </c:pt>
                <c:pt idx="78">
                  <c:v>2183</c:v>
                </c:pt>
                <c:pt idx="79">
                  <c:v>2208</c:v>
                </c:pt>
                <c:pt idx="80">
                  <c:v>2169</c:v>
                </c:pt>
                <c:pt idx="81">
                  <c:v>2144</c:v>
                </c:pt>
                <c:pt idx="82">
                  <c:v>2229</c:v>
                </c:pt>
                <c:pt idx="83">
                  <c:v>2153</c:v>
                </c:pt>
                <c:pt idx="84">
                  <c:v>2053</c:v>
                </c:pt>
                <c:pt idx="85">
                  <c:v>2056</c:v>
                </c:pt>
                <c:pt idx="86">
                  <c:v>2041</c:v>
                </c:pt>
                <c:pt idx="87">
                  <c:v>1905</c:v>
                </c:pt>
                <c:pt idx="88">
                  <c:v>1857</c:v>
                </c:pt>
                <c:pt idx="89">
                  <c:v>1804</c:v>
                </c:pt>
                <c:pt idx="90">
                  <c:v>1772</c:v>
                </c:pt>
                <c:pt idx="91">
                  <c:v>1709</c:v>
                </c:pt>
                <c:pt idx="92">
                  <c:v>1707</c:v>
                </c:pt>
                <c:pt idx="93">
                  <c:v>1694</c:v>
                </c:pt>
                <c:pt idx="94">
                  <c:v>1548</c:v>
                </c:pt>
                <c:pt idx="95">
                  <c:v>1519</c:v>
                </c:pt>
                <c:pt idx="96">
                  <c:v>1457</c:v>
                </c:pt>
                <c:pt idx="97">
                  <c:v>1391</c:v>
                </c:pt>
                <c:pt idx="98">
                  <c:v>1334</c:v>
                </c:pt>
                <c:pt idx="99">
                  <c:v>1321</c:v>
                </c:pt>
                <c:pt idx="100">
                  <c:v>1288</c:v>
                </c:pt>
                <c:pt idx="101">
                  <c:v>1181</c:v>
                </c:pt>
                <c:pt idx="102">
                  <c:v>1128</c:v>
                </c:pt>
                <c:pt idx="103">
                  <c:v>1079</c:v>
                </c:pt>
                <c:pt idx="104">
                  <c:v>1039</c:v>
                </c:pt>
                <c:pt idx="105">
                  <c:v>946</c:v>
                </c:pt>
                <c:pt idx="106">
                  <c:v>913</c:v>
                </c:pt>
                <c:pt idx="107">
                  <c:v>875</c:v>
                </c:pt>
                <c:pt idx="108">
                  <c:v>813</c:v>
                </c:pt>
                <c:pt idx="109">
                  <c:v>815</c:v>
                </c:pt>
                <c:pt idx="110">
                  <c:v>797</c:v>
                </c:pt>
                <c:pt idx="111">
                  <c:v>771</c:v>
                </c:pt>
                <c:pt idx="112">
                  <c:v>750</c:v>
                </c:pt>
                <c:pt idx="113">
                  <c:v>729</c:v>
                </c:pt>
                <c:pt idx="114">
                  <c:v>724</c:v>
                </c:pt>
                <c:pt idx="115">
                  <c:v>704</c:v>
                </c:pt>
                <c:pt idx="116">
                  <c:v>718</c:v>
                </c:pt>
                <c:pt idx="117">
                  <c:v>706</c:v>
                </c:pt>
                <c:pt idx="118">
                  <c:v>714</c:v>
                </c:pt>
                <c:pt idx="119">
                  <c:v>757</c:v>
                </c:pt>
                <c:pt idx="120">
                  <c:v>772</c:v>
                </c:pt>
                <c:pt idx="121">
                  <c:v>766</c:v>
                </c:pt>
                <c:pt idx="122">
                  <c:v>728</c:v>
                </c:pt>
                <c:pt idx="123">
                  <c:v>752</c:v>
                </c:pt>
                <c:pt idx="124">
                  <c:v>783</c:v>
                </c:pt>
                <c:pt idx="125">
                  <c:v>817</c:v>
                </c:pt>
                <c:pt idx="126">
                  <c:v>861</c:v>
                </c:pt>
                <c:pt idx="127">
                  <c:v>919</c:v>
                </c:pt>
                <c:pt idx="128">
                  <c:v>917</c:v>
                </c:pt>
                <c:pt idx="129">
                  <c:v>1004</c:v>
                </c:pt>
                <c:pt idx="130">
                  <c:v>1146</c:v>
                </c:pt>
                <c:pt idx="131">
                  <c:v>1293</c:v>
                </c:pt>
                <c:pt idx="132">
                  <c:v>1432</c:v>
                </c:pt>
                <c:pt idx="133">
                  <c:v>1547</c:v>
                </c:pt>
                <c:pt idx="134">
                  <c:v>1574</c:v>
                </c:pt>
                <c:pt idx="135">
                  <c:v>1595</c:v>
                </c:pt>
                <c:pt idx="136">
                  <c:v>1753</c:v>
                </c:pt>
                <c:pt idx="137">
                  <c:v>2022</c:v>
                </c:pt>
                <c:pt idx="138">
                  <c:v>2364</c:v>
                </c:pt>
                <c:pt idx="139">
                  <c:v>2480</c:v>
                </c:pt>
                <c:pt idx="140">
                  <c:v>2712</c:v>
                </c:pt>
                <c:pt idx="141">
                  <c:v>2670</c:v>
                </c:pt>
                <c:pt idx="142">
                  <c:v>2682</c:v>
                </c:pt>
                <c:pt idx="143">
                  <c:v>2903</c:v>
                </c:pt>
                <c:pt idx="144">
                  <c:v>3271</c:v>
                </c:pt>
                <c:pt idx="145">
                  <c:v>3532</c:v>
                </c:pt>
                <c:pt idx="146">
                  <c:v>3472</c:v>
                </c:pt>
                <c:pt idx="147">
                  <c:v>3389</c:v>
                </c:pt>
                <c:pt idx="148">
                  <c:v>3224</c:v>
                </c:pt>
                <c:pt idx="149">
                  <c:v>3004</c:v>
                </c:pt>
                <c:pt idx="150">
                  <c:v>3060</c:v>
                </c:pt>
                <c:pt idx="151">
                  <c:v>3276</c:v>
                </c:pt>
                <c:pt idx="152">
                  <c:v>3378</c:v>
                </c:pt>
                <c:pt idx="153">
                  <c:v>3073</c:v>
                </c:pt>
                <c:pt idx="154">
                  <c:v>2879</c:v>
                </c:pt>
                <c:pt idx="155">
                  <c:v>2662</c:v>
                </c:pt>
                <c:pt idx="156">
                  <c:v>2421</c:v>
                </c:pt>
                <c:pt idx="157">
                  <c:v>2407</c:v>
                </c:pt>
                <c:pt idx="158">
                  <c:v>2556</c:v>
                </c:pt>
                <c:pt idx="159">
                  <c:v>2640</c:v>
                </c:pt>
                <c:pt idx="160">
                  <c:v>2313</c:v>
                </c:pt>
                <c:pt idx="161">
                  <c:v>2191</c:v>
                </c:pt>
                <c:pt idx="162">
                  <c:v>1989</c:v>
                </c:pt>
                <c:pt idx="163">
                  <c:v>1797</c:v>
                </c:pt>
                <c:pt idx="164">
                  <c:v>1786</c:v>
                </c:pt>
                <c:pt idx="165">
                  <c:v>1818</c:v>
                </c:pt>
                <c:pt idx="166">
                  <c:v>1810</c:v>
                </c:pt>
                <c:pt idx="167">
                  <c:v>1575</c:v>
                </c:pt>
                <c:pt idx="168">
                  <c:v>1436</c:v>
                </c:pt>
                <c:pt idx="169">
                  <c:v>1297</c:v>
                </c:pt>
                <c:pt idx="170">
                  <c:v>1158</c:v>
                </c:pt>
                <c:pt idx="171">
                  <c:v>1136</c:v>
                </c:pt>
                <c:pt idx="172">
                  <c:v>1214</c:v>
                </c:pt>
                <c:pt idx="173">
                  <c:v>1246</c:v>
                </c:pt>
                <c:pt idx="174">
                  <c:v>1095</c:v>
                </c:pt>
                <c:pt idx="175">
                  <c:v>1090</c:v>
                </c:pt>
                <c:pt idx="176">
                  <c:v>1033</c:v>
                </c:pt>
                <c:pt idx="177">
                  <c:v>962</c:v>
                </c:pt>
                <c:pt idx="178">
                  <c:v>1011</c:v>
                </c:pt>
                <c:pt idx="179">
                  <c:v>1066</c:v>
                </c:pt>
                <c:pt idx="180">
                  <c:v>1125</c:v>
                </c:pt>
                <c:pt idx="181">
                  <c:v>1067</c:v>
                </c:pt>
                <c:pt idx="182">
                  <c:v>1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1.398776170664249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10.09.21</c:v>
                </c:pt>
                <c:pt idx="1">
                  <c:v>11.09.21</c:v>
                </c:pt>
                <c:pt idx="2">
                  <c:v>12.09.21</c:v>
                </c:pt>
                <c:pt idx="3">
                  <c:v>13.09.21</c:v>
                </c:pt>
                <c:pt idx="4">
                  <c:v>14.09.21</c:v>
                </c:pt>
                <c:pt idx="5">
                  <c:v>15.09.21</c:v>
                </c:pt>
                <c:pt idx="6">
                  <c:v>16.09.21</c:v>
                </c:pt>
                <c:pt idx="7">
                  <c:v>17.09.21</c:v>
                </c:pt>
                <c:pt idx="8">
                  <c:v>18.09.21</c:v>
                </c:pt>
                <c:pt idx="9">
                  <c:v>19.09.21</c:v>
                </c:pt>
                <c:pt idx="10">
                  <c:v>20.09.21</c:v>
                </c:pt>
                <c:pt idx="11">
                  <c:v>21.09.21</c:v>
                </c:pt>
                <c:pt idx="12">
                  <c:v>22.09.21</c:v>
                </c:pt>
                <c:pt idx="13">
                  <c:v>23.09.21</c:v>
                </c:pt>
                <c:pt idx="14">
                  <c:v>24.09.21</c:v>
                </c:pt>
                <c:pt idx="15">
                  <c:v>25.09.21</c:v>
                </c:pt>
                <c:pt idx="16">
                  <c:v>26.09.21</c:v>
                </c:pt>
                <c:pt idx="17">
                  <c:v>27.09.21</c:v>
                </c:pt>
                <c:pt idx="18">
                  <c:v>28.09.21</c:v>
                </c:pt>
                <c:pt idx="19">
                  <c:v>29.09.21</c:v>
                </c:pt>
                <c:pt idx="20">
                  <c:v>30.09.21</c:v>
                </c:pt>
                <c:pt idx="21">
                  <c:v>01.10.21</c:v>
                </c:pt>
                <c:pt idx="22">
                  <c:v>02.10.21</c:v>
                </c:pt>
                <c:pt idx="23">
                  <c:v>03.10.21</c:v>
                </c:pt>
                <c:pt idx="24">
                  <c:v>04.10.21</c:v>
                </c:pt>
                <c:pt idx="25">
                  <c:v>05.10.21</c:v>
                </c:pt>
                <c:pt idx="26">
                  <c:v>06.10.21</c:v>
                </c:pt>
                <c:pt idx="27">
                  <c:v>07.10.21</c:v>
                </c:pt>
                <c:pt idx="28">
                  <c:v>08.10.21</c:v>
                </c:pt>
                <c:pt idx="29">
                  <c:v>09.10.21</c:v>
                </c:pt>
                <c:pt idx="30">
                  <c:v>10.10.21</c:v>
                </c:pt>
                <c:pt idx="31">
                  <c:v>11.10.21</c:v>
                </c:pt>
                <c:pt idx="32">
                  <c:v>12.10.21</c:v>
                </c:pt>
                <c:pt idx="33">
                  <c:v>13.10.21</c:v>
                </c:pt>
                <c:pt idx="34">
                  <c:v>14.10.21</c:v>
                </c:pt>
                <c:pt idx="35">
                  <c:v>15.10.21</c:v>
                </c:pt>
                <c:pt idx="36">
                  <c:v>16.10.21</c:v>
                </c:pt>
                <c:pt idx="37">
                  <c:v>17.10.21</c:v>
                </c:pt>
                <c:pt idx="38">
                  <c:v>18.10.21</c:v>
                </c:pt>
                <c:pt idx="39">
                  <c:v>19.10.21</c:v>
                </c:pt>
                <c:pt idx="40">
                  <c:v>20.10.21</c:v>
                </c:pt>
                <c:pt idx="41">
                  <c:v>21.10.21</c:v>
                </c:pt>
                <c:pt idx="42">
                  <c:v>22.10.21</c:v>
                </c:pt>
                <c:pt idx="43">
                  <c:v>23.10.21</c:v>
                </c:pt>
                <c:pt idx="44">
                  <c:v>24.10.21</c:v>
                </c:pt>
                <c:pt idx="45">
                  <c:v>25.10.21</c:v>
                </c:pt>
                <c:pt idx="46">
                  <c:v>26.10.21</c:v>
                </c:pt>
                <c:pt idx="47">
                  <c:v>27.10.21</c:v>
                </c:pt>
                <c:pt idx="48">
                  <c:v>28.10.21</c:v>
                </c:pt>
                <c:pt idx="49">
                  <c:v>29.10.21</c:v>
                </c:pt>
                <c:pt idx="50">
                  <c:v>30.10.21</c:v>
                </c:pt>
                <c:pt idx="51">
                  <c:v>31.10.21</c:v>
                </c:pt>
                <c:pt idx="52">
                  <c:v>01.11.21</c:v>
                </c:pt>
                <c:pt idx="53">
                  <c:v>02.11.21</c:v>
                </c:pt>
                <c:pt idx="54">
                  <c:v>03.11.21</c:v>
                </c:pt>
                <c:pt idx="55">
                  <c:v>04.11.21</c:v>
                </c:pt>
                <c:pt idx="56">
                  <c:v>05.11.21</c:v>
                </c:pt>
                <c:pt idx="57">
                  <c:v>06.11.21</c:v>
                </c:pt>
                <c:pt idx="58">
                  <c:v>07.11.21</c:v>
                </c:pt>
                <c:pt idx="59">
                  <c:v>08.11.21</c:v>
                </c:pt>
                <c:pt idx="60">
                  <c:v>09.11.21</c:v>
                </c:pt>
                <c:pt idx="61">
                  <c:v>10.11.21</c:v>
                </c:pt>
                <c:pt idx="62">
                  <c:v>11.11.21</c:v>
                </c:pt>
                <c:pt idx="63">
                  <c:v>12.11.21</c:v>
                </c:pt>
                <c:pt idx="64">
                  <c:v>13.11.21</c:v>
                </c:pt>
                <c:pt idx="65">
                  <c:v>14.11.21</c:v>
                </c:pt>
                <c:pt idx="66">
                  <c:v>15.11.21</c:v>
                </c:pt>
                <c:pt idx="67">
                  <c:v>16.11.21</c:v>
                </c:pt>
                <c:pt idx="68">
                  <c:v>17.11.21</c:v>
                </c:pt>
                <c:pt idx="69">
                  <c:v>18.11.21</c:v>
                </c:pt>
                <c:pt idx="70">
                  <c:v>19.11.21</c:v>
                </c:pt>
                <c:pt idx="71">
                  <c:v>20.11.21</c:v>
                </c:pt>
                <c:pt idx="72">
                  <c:v>21.11.21</c:v>
                </c:pt>
                <c:pt idx="73">
                  <c:v>22.11.21</c:v>
                </c:pt>
                <c:pt idx="74">
                  <c:v>23.11.21</c:v>
                </c:pt>
                <c:pt idx="75">
                  <c:v>24.11.21</c:v>
                </c:pt>
                <c:pt idx="76">
                  <c:v>25.11.21</c:v>
                </c:pt>
                <c:pt idx="77">
                  <c:v>26.11.21</c:v>
                </c:pt>
                <c:pt idx="78">
                  <c:v>27.11.21</c:v>
                </c:pt>
                <c:pt idx="79">
                  <c:v>28.11.21</c:v>
                </c:pt>
                <c:pt idx="80">
                  <c:v>29.11.21</c:v>
                </c:pt>
                <c:pt idx="81">
                  <c:v>30.11.21</c:v>
                </c:pt>
                <c:pt idx="82">
                  <c:v>01.12.21</c:v>
                </c:pt>
                <c:pt idx="83">
                  <c:v>02.12.21</c:v>
                </c:pt>
                <c:pt idx="84">
                  <c:v>03.12.21</c:v>
                </c:pt>
                <c:pt idx="85">
                  <c:v>04.12.21</c:v>
                </c:pt>
                <c:pt idx="86">
                  <c:v>05.12.21</c:v>
                </c:pt>
                <c:pt idx="87">
                  <c:v>06.12.21</c:v>
                </c:pt>
                <c:pt idx="88">
                  <c:v>07.12.21</c:v>
                </c:pt>
                <c:pt idx="89">
                  <c:v>08.12.21</c:v>
                </c:pt>
                <c:pt idx="90">
                  <c:v>09.12.21</c:v>
                </c:pt>
                <c:pt idx="91">
                  <c:v>10.12.21</c:v>
                </c:pt>
                <c:pt idx="92">
                  <c:v>11.12.21</c:v>
                </c:pt>
                <c:pt idx="93">
                  <c:v>12.12.21</c:v>
                </c:pt>
                <c:pt idx="94">
                  <c:v>13.12.21</c:v>
                </c:pt>
                <c:pt idx="95">
                  <c:v>14.12.21</c:v>
                </c:pt>
                <c:pt idx="96">
                  <c:v>15.12.21</c:v>
                </c:pt>
                <c:pt idx="97">
                  <c:v>16.12.21</c:v>
                </c:pt>
                <c:pt idx="98">
                  <c:v>17.12.21</c:v>
                </c:pt>
                <c:pt idx="99">
                  <c:v>18.12.21</c:v>
                </c:pt>
                <c:pt idx="100">
                  <c:v>19.12.21</c:v>
                </c:pt>
                <c:pt idx="101">
                  <c:v>20.12.21</c:v>
                </c:pt>
                <c:pt idx="102">
                  <c:v>21.12.21</c:v>
                </c:pt>
                <c:pt idx="103">
                  <c:v>22.12.21</c:v>
                </c:pt>
                <c:pt idx="104">
                  <c:v>23.12.21</c:v>
                </c:pt>
                <c:pt idx="105">
                  <c:v>24.12.21</c:v>
                </c:pt>
                <c:pt idx="106">
                  <c:v>25.12.21</c:v>
                </c:pt>
                <c:pt idx="107">
                  <c:v>26.12.21</c:v>
                </c:pt>
                <c:pt idx="108">
                  <c:v>27.12.21</c:v>
                </c:pt>
                <c:pt idx="109">
                  <c:v>28.12.21</c:v>
                </c:pt>
                <c:pt idx="110">
                  <c:v>29.12.21</c:v>
                </c:pt>
                <c:pt idx="111">
                  <c:v>30.12.21</c:v>
                </c:pt>
                <c:pt idx="112">
                  <c:v>31.12.21</c:v>
                </c:pt>
                <c:pt idx="113">
                  <c:v>01.01.22</c:v>
                </c:pt>
                <c:pt idx="114">
                  <c:v>02.01.22</c:v>
                </c:pt>
                <c:pt idx="115">
                  <c:v>03.01.22</c:v>
                </c:pt>
                <c:pt idx="116">
                  <c:v>04.01.22</c:v>
                </c:pt>
                <c:pt idx="117">
                  <c:v>05.01.22</c:v>
                </c:pt>
                <c:pt idx="118">
                  <c:v>06.01.22</c:v>
                </c:pt>
                <c:pt idx="119">
                  <c:v>07.01.22</c:v>
                </c:pt>
                <c:pt idx="120">
                  <c:v>08.01.22</c:v>
                </c:pt>
                <c:pt idx="121">
                  <c:v>09.01.22</c:v>
                </c:pt>
                <c:pt idx="122">
                  <c:v>10.01.22</c:v>
                </c:pt>
                <c:pt idx="123">
                  <c:v>11.01.22</c:v>
                </c:pt>
                <c:pt idx="124">
                  <c:v>12.01.22</c:v>
                </c:pt>
                <c:pt idx="125">
                  <c:v>13.01.22</c:v>
                </c:pt>
                <c:pt idx="126">
                  <c:v>14.01.22</c:v>
                </c:pt>
                <c:pt idx="127">
                  <c:v>15.01.22</c:v>
                </c:pt>
                <c:pt idx="128">
                  <c:v>16.01.22</c:v>
                </c:pt>
                <c:pt idx="129">
                  <c:v>17.01.22</c:v>
                </c:pt>
                <c:pt idx="130">
                  <c:v>18.01.22</c:v>
                </c:pt>
                <c:pt idx="131">
                  <c:v>19.01.22</c:v>
                </c:pt>
                <c:pt idx="132">
                  <c:v>20.01.22</c:v>
                </c:pt>
                <c:pt idx="133">
                  <c:v>21.01.22</c:v>
                </c:pt>
                <c:pt idx="134">
                  <c:v>22.01.22</c:v>
                </c:pt>
                <c:pt idx="135">
                  <c:v>23.01.22</c:v>
                </c:pt>
                <c:pt idx="136">
                  <c:v>24.01.22</c:v>
                </c:pt>
                <c:pt idx="137">
                  <c:v>25.01.22</c:v>
                </c:pt>
                <c:pt idx="138">
                  <c:v>26.01.22</c:v>
                </c:pt>
                <c:pt idx="139">
                  <c:v>27.01.22</c:v>
                </c:pt>
                <c:pt idx="140">
                  <c:v>28.01.22</c:v>
                </c:pt>
                <c:pt idx="141">
                  <c:v>29.01.22</c:v>
                </c:pt>
                <c:pt idx="142">
                  <c:v>30.01.22</c:v>
                </c:pt>
                <c:pt idx="143">
                  <c:v>31.01.22</c:v>
                </c:pt>
                <c:pt idx="144">
                  <c:v>01.02.22</c:v>
                </c:pt>
                <c:pt idx="145">
                  <c:v>02.02.22</c:v>
                </c:pt>
                <c:pt idx="146">
                  <c:v>03.02.22</c:v>
                </c:pt>
                <c:pt idx="147">
                  <c:v>04.02.22</c:v>
                </c:pt>
                <c:pt idx="148">
                  <c:v>05.02.22</c:v>
                </c:pt>
                <c:pt idx="149">
                  <c:v>06.02.22</c:v>
                </c:pt>
                <c:pt idx="150">
                  <c:v>07.02.22</c:v>
                </c:pt>
                <c:pt idx="151">
                  <c:v>08.02.22</c:v>
                </c:pt>
                <c:pt idx="152">
                  <c:v>09.02.22</c:v>
                </c:pt>
                <c:pt idx="153">
                  <c:v>10.02.22</c:v>
                </c:pt>
                <c:pt idx="154">
                  <c:v>11.02.22</c:v>
                </c:pt>
                <c:pt idx="155">
                  <c:v>12.02.22</c:v>
                </c:pt>
                <c:pt idx="156">
                  <c:v>13.02.22</c:v>
                </c:pt>
                <c:pt idx="157">
                  <c:v>14.02.22</c:v>
                </c:pt>
                <c:pt idx="158">
                  <c:v>15.02.22</c:v>
                </c:pt>
                <c:pt idx="159">
                  <c:v>16.02.22</c:v>
                </c:pt>
                <c:pt idx="160">
                  <c:v>17.02.22</c:v>
                </c:pt>
                <c:pt idx="161">
                  <c:v>18.02.22</c:v>
                </c:pt>
                <c:pt idx="162">
                  <c:v>19.02.22</c:v>
                </c:pt>
                <c:pt idx="163">
                  <c:v>20.02.22</c:v>
                </c:pt>
                <c:pt idx="164">
                  <c:v>21.02.22</c:v>
                </c:pt>
                <c:pt idx="165">
                  <c:v>22.02.22</c:v>
                </c:pt>
                <c:pt idx="166">
                  <c:v>23.02.22</c:v>
                </c:pt>
                <c:pt idx="167">
                  <c:v>24.02.22</c:v>
                </c:pt>
                <c:pt idx="168">
                  <c:v>25.02.22</c:v>
                </c:pt>
                <c:pt idx="169">
                  <c:v>26.02.22</c:v>
                </c:pt>
                <c:pt idx="170">
                  <c:v>27.02.22</c:v>
                </c:pt>
                <c:pt idx="171">
                  <c:v>28.02.22</c:v>
                </c:pt>
                <c:pt idx="172">
                  <c:v>01.03.22</c:v>
                </c:pt>
                <c:pt idx="173">
                  <c:v>02.03.22</c:v>
                </c:pt>
                <c:pt idx="174">
                  <c:v>03.03.22</c:v>
                </c:pt>
                <c:pt idx="175">
                  <c:v>04.03.22</c:v>
                </c:pt>
                <c:pt idx="176">
                  <c:v>05.03.22</c:v>
                </c:pt>
                <c:pt idx="177">
                  <c:v>06.03.22</c:v>
                </c:pt>
                <c:pt idx="178">
                  <c:v>07.03.22</c:v>
                </c:pt>
                <c:pt idx="179">
                  <c:v>08.03.22</c:v>
                </c:pt>
                <c:pt idx="180">
                  <c:v>09.03.22</c:v>
                </c:pt>
                <c:pt idx="181">
                  <c:v>10.03.22</c:v>
                </c:pt>
                <c:pt idx="182">
                  <c:v>11.03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44</c:v>
                </c:pt>
                <c:pt idx="1">
                  <c:v>143</c:v>
                </c:pt>
                <c:pt idx="2">
                  <c:v>146</c:v>
                </c:pt>
                <c:pt idx="3">
                  <c:v>147</c:v>
                </c:pt>
                <c:pt idx="4">
                  <c:v>147</c:v>
                </c:pt>
                <c:pt idx="5">
                  <c:v>151</c:v>
                </c:pt>
                <c:pt idx="6">
                  <c:v>155</c:v>
                </c:pt>
                <c:pt idx="7">
                  <c:v>153</c:v>
                </c:pt>
                <c:pt idx="8">
                  <c:v>152</c:v>
                </c:pt>
                <c:pt idx="9">
                  <c:v>155</c:v>
                </c:pt>
                <c:pt idx="10">
                  <c:v>156</c:v>
                </c:pt>
                <c:pt idx="11">
                  <c:v>163</c:v>
                </c:pt>
                <c:pt idx="12">
                  <c:v>170</c:v>
                </c:pt>
                <c:pt idx="13">
                  <c:v>172</c:v>
                </c:pt>
                <c:pt idx="14">
                  <c:v>175</c:v>
                </c:pt>
                <c:pt idx="15">
                  <c:v>178</c:v>
                </c:pt>
                <c:pt idx="16">
                  <c:v>177</c:v>
                </c:pt>
                <c:pt idx="17">
                  <c:v>180</c:v>
                </c:pt>
                <c:pt idx="18">
                  <c:v>185</c:v>
                </c:pt>
                <c:pt idx="19">
                  <c:v>185</c:v>
                </c:pt>
                <c:pt idx="20">
                  <c:v>190</c:v>
                </c:pt>
                <c:pt idx="21">
                  <c:v>193</c:v>
                </c:pt>
                <c:pt idx="22">
                  <c:v>195</c:v>
                </c:pt>
                <c:pt idx="23">
                  <c:v>196</c:v>
                </c:pt>
                <c:pt idx="24">
                  <c:v>198</c:v>
                </c:pt>
                <c:pt idx="25">
                  <c:v>200</c:v>
                </c:pt>
                <c:pt idx="26">
                  <c:v>209</c:v>
                </c:pt>
                <c:pt idx="27">
                  <c:v>214</c:v>
                </c:pt>
                <c:pt idx="28">
                  <c:v>220</c:v>
                </c:pt>
                <c:pt idx="29">
                  <c:v>225</c:v>
                </c:pt>
                <c:pt idx="30">
                  <c:v>227</c:v>
                </c:pt>
                <c:pt idx="31">
                  <c:v>237</c:v>
                </c:pt>
                <c:pt idx="32">
                  <c:v>266</c:v>
                </c:pt>
                <c:pt idx="33">
                  <c:v>273</c:v>
                </c:pt>
                <c:pt idx="34">
                  <c:v>281</c:v>
                </c:pt>
                <c:pt idx="35">
                  <c:v>285</c:v>
                </c:pt>
                <c:pt idx="36">
                  <c:v>291</c:v>
                </c:pt>
                <c:pt idx="37">
                  <c:v>295</c:v>
                </c:pt>
                <c:pt idx="38">
                  <c:v>322</c:v>
                </c:pt>
                <c:pt idx="39">
                  <c:v>363</c:v>
                </c:pt>
                <c:pt idx="40">
                  <c:v>398</c:v>
                </c:pt>
                <c:pt idx="41">
                  <c:v>437</c:v>
                </c:pt>
                <c:pt idx="42">
                  <c:v>468</c:v>
                </c:pt>
                <c:pt idx="43">
                  <c:v>491</c:v>
                </c:pt>
                <c:pt idx="44">
                  <c:v>504</c:v>
                </c:pt>
                <c:pt idx="45">
                  <c:v>552</c:v>
                </c:pt>
                <c:pt idx="46">
                  <c:v>607</c:v>
                </c:pt>
                <c:pt idx="47">
                  <c:v>654</c:v>
                </c:pt>
                <c:pt idx="48">
                  <c:v>679</c:v>
                </c:pt>
                <c:pt idx="49">
                  <c:v>743</c:v>
                </c:pt>
                <c:pt idx="50">
                  <c:v>788</c:v>
                </c:pt>
                <c:pt idx="51">
                  <c:v>817</c:v>
                </c:pt>
                <c:pt idx="52">
                  <c:v>890</c:v>
                </c:pt>
                <c:pt idx="53">
                  <c:v>964</c:v>
                </c:pt>
                <c:pt idx="54">
                  <c:v>1026</c:v>
                </c:pt>
                <c:pt idx="55">
                  <c:v>1078</c:v>
                </c:pt>
                <c:pt idx="56">
                  <c:v>1165</c:v>
                </c:pt>
                <c:pt idx="57">
                  <c:v>1193</c:v>
                </c:pt>
                <c:pt idx="58">
                  <c:v>1195</c:v>
                </c:pt>
                <c:pt idx="59">
                  <c:v>1228</c:v>
                </c:pt>
                <c:pt idx="60">
                  <c:v>1295</c:v>
                </c:pt>
                <c:pt idx="61">
                  <c:v>1376</c:v>
                </c:pt>
                <c:pt idx="62">
                  <c:v>1461</c:v>
                </c:pt>
                <c:pt idx="63">
                  <c:v>1526</c:v>
                </c:pt>
                <c:pt idx="64">
                  <c:v>1569</c:v>
                </c:pt>
                <c:pt idx="65">
                  <c:v>1579</c:v>
                </c:pt>
                <c:pt idx="66">
                  <c:v>1566</c:v>
                </c:pt>
                <c:pt idx="67">
                  <c:v>1635</c:v>
                </c:pt>
                <c:pt idx="68">
                  <c:v>1686</c:v>
                </c:pt>
                <c:pt idx="69">
                  <c:v>1732</c:v>
                </c:pt>
                <c:pt idx="70">
                  <c:v>1867</c:v>
                </c:pt>
                <c:pt idx="71">
                  <c:v>1946</c:v>
                </c:pt>
                <c:pt idx="72">
                  <c:v>1990</c:v>
                </c:pt>
                <c:pt idx="73">
                  <c:v>2023</c:v>
                </c:pt>
                <c:pt idx="74">
                  <c:v>2077</c:v>
                </c:pt>
                <c:pt idx="75">
                  <c:v>2117</c:v>
                </c:pt>
                <c:pt idx="76">
                  <c:v>2236</c:v>
                </c:pt>
                <c:pt idx="77">
                  <c:v>2223</c:v>
                </c:pt>
                <c:pt idx="78">
                  <c:v>2272</c:v>
                </c:pt>
                <c:pt idx="79">
                  <c:v>2296</c:v>
                </c:pt>
                <c:pt idx="80">
                  <c:v>2267</c:v>
                </c:pt>
                <c:pt idx="81">
                  <c:v>2258</c:v>
                </c:pt>
                <c:pt idx="82">
                  <c:v>2346</c:v>
                </c:pt>
                <c:pt idx="83">
                  <c:v>2251</c:v>
                </c:pt>
                <c:pt idx="84">
                  <c:v>2186</c:v>
                </c:pt>
                <c:pt idx="85">
                  <c:v>2189</c:v>
                </c:pt>
                <c:pt idx="86">
                  <c:v>2165</c:v>
                </c:pt>
                <c:pt idx="87">
                  <c:v>2081</c:v>
                </c:pt>
                <c:pt idx="88">
                  <c:v>2037</c:v>
                </c:pt>
                <c:pt idx="89">
                  <c:v>1975</c:v>
                </c:pt>
                <c:pt idx="90">
                  <c:v>1908</c:v>
                </c:pt>
                <c:pt idx="91">
                  <c:v>1842</c:v>
                </c:pt>
                <c:pt idx="92">
                  <c:v>1843</c:v>
                </c:pt>
                <c:pt idx="93">
                  <c:v>1818</c:v>
                </c:pt>
                <c:pt idx="94">
                  <c:v>1695</c:v>
                </c:pt>
                <c:pt idx="95">
                  <c:v>1684</c:v>
                </c:pt>
                <c:pt idx="96">
                  <c:v>1648</c:v>
                </c:pt>
                <c:pt idx="97">
                  <c:v>1582</c:v>
                </c:pt>
                <c:pt idx="98">
                  <c:v>1534</c:v>
                </c:pt>
                <c:pt idx="99">
                  <c:v>1530</c:v>
                </c:pt>
                <c:pt idx="100">
                  <c:v>1502</c:v>
                </c:pt>
                <c:pt idx="101">
                  <c:v>1378</c:v>
                </c:pt>
                <c:pt idx="102">
                  <c:v>1320</c:v>
                </c:pt>
                <c:pt idx="103">
                  <c:v>1253</c:v>
                </c:pt>
                <c:pt idx="104">
                  <c:v>1233</c:v>
                </c:pt>
                <c:pt idx="105">
                  <c:v>1148</c:v>
                </c:pt>
                <c:pt idx="106">
                  <c:v>1110</c:v>
                </c:pt>
                <c:pt idx="107">
                  <c:v>1070</c:v>
                </c:pt>
                <c:pt idx="108">
                  <c:v>942</c:v>
                </c:pt>
                <c:pt idx="109">
                  <c:v>938</c:v>
                </c:pt>
                <c:pt idx="110">
                  <c:v>900</c:v>
                </c:pt>
                <c:pt idx="111">
                  <c:v>871</c:v>
                </c:pt>
                <c:pt idx="112">
                  <c:v>858</c:v>
                </c:pt>
                <c:pt idx="113">
                  <c:v>831</c:v>
                </c:pt>
                <c:pt idx="114">
                  <c:v>802</c:v>
                </c:pt>
                <c:pt idx="115">
                  <c:v>769</c:v>
                </c:pt>
                <c:pt idx="116">
                  <c:v>795</c:v>
                </c:pt>
                <c:pt idx="117">
                  <c:v>797</c:v>
                </c:pt>
                <c:pt idx="118">
                  <c:v>826</c:v>
                </c:pt>
                <c:pt idx="119">
                  <c:v>880</c:v>
                </c:pt>
                <c:pt idx="120">
                  <c:v>891</c:v>
                </c:pt>
                <c:pt idx="121">
                  <c:v>886</c:v>
                </c:pt>
                <c:pt idx="122">
                  <c:v>871</c:v>
                </c:pt>
                <c:pt idx="123">
                  <c:v>896</c:v>
                </c:pt>
                <c:pt idx="124">
                  <c:v>929</c:v>
                </c:pt>
                <c:pt idx="125">
                  <c:v>940</c:v>
                </c:pt>
                <c:pt idx="126">
                  <c:v>987</c:v>
                </c:pt>
                <c:pt idx="127">
                  <c:v>1030</c:v>
                </c:pt>
                <c:pt idx="128">
                  <c:v>1045</c:v>
                </c:pt>
                <c:pt idx="129">
                  <c:v>1107</c:v>
                </c:pt>
                <c:pt idx="130">
                  <c:v>1234</c:v>
                </c:pt>
                <c:pt idx="131">
                  <c:v>1380</c:v>
                </c:pt>
                <c:pt idx="132">
                  <c:v>1534</c:v>
                </c:pt>
                <c:pt idx="133">
                  <c:v>1573</c:v>
                </c:pt>
                <c:pt idx="134">
                  <c:v>1611</c:v>
                </c:pt>
                <c:pt idx="135">
                  <c:v>1608</c:v>
                </c:pt>
                <c:pt idx="136">
                  <c:v>1706</c:v>
                </c:pt>
                <c:pt idx="137">
                  <c:v>1970</c:v>
                </c:pt>
                <c:pt idx="138">
                  <c:v>2308</c:v>
                </c:pt>
                <c:pt idx="139">
                  <c:v>2380</c:v>
                </c:pt>
                <c:pt idx="140">
                  <c:v>2603</c:v>
                </c:pt>
                <c:pt idx="141">
                  <c:v>2515</c:v>
                </c:pt>
                <c:pt idx="142">
                  <c:v>2503</c:v>
                </c:pt>
                <c:pt idx="143">
                  <c:v>2627</c:v>
                </c:pt>
                <c:pt idx="144">
                  <c:v>2998</c:v>
                </c:pt>
                <c:pt idx="145">
                  <c:v>3206</c:v>
                </c:pt>
                <c:pt idx="146">
                  <c:v>3180</c:v>
                </c:pt>
                <c:pt idx="147">
                  <c:v>3111</c:v>
                </c:pt>
                <c:pt idx="148">
                  <c:v>2952</c:v>
                </c:pt>
                <c:pt idx="149">
                  <c:v>2716</c:v>
                </c:pt>
                <c:pt idx="150">
                  <c:v>2809</c:v>
                </c:pt>
                <c:pt idx="151">
                  <c:v>3029</c:v>
                </c:pt>
                <c:pt idx="152">
                  <c:v>3187</c:v>
                </c:pt>
                <c:pt idx="153">
                  <c:v>2896</c:v>
                </c:pt>
                <c:pt idx="154">
                  <c:v>2715</c:v>
                </c:pt>
                <c:pt idx="155">
                  <c:v>2481</c:v>
                </c:pt>
                <c:pt idx="156">
                  <c:v>2246</c:v>
                </c:pt>
                <c:pt idx="157">
                  <c:v>2209</c:v>
                </c:pt>
                <c:pt idx="158">
                  <c:v>2353</c:v>
                </c:pt>
                <c:pt idx="159">
                  <c:v>2371</c:v>
                </c:pt>
                <c:pt idx="160">
                  <c:v>2040</c:v>
                </c:pt>
                <c:pt idx="161">
                  <c:v>1870</c:v>
                </c:pt>
                <c:pt idx="162">
                  <c:v>1686</c:v>
                </c:pt>
                <c:pt idx="163">
                  <c:v>1500</c:v>
                </c:pt>
                <c:pt idx="164">
                  <c:v>1461</c:v>
                </c:pt>
                <c:pt idx="165">
                  <c:v>1505</c:v>
                </c:pt>
                <c:pt idx="166">
                  <c:v>1520</c:v>
                </c:pt>
                <c:pt idx="167">
                  <c:v>1322</c:v>
                </c:pt>
                <c:pt idx="168">
                  <c:v>1230</c:v>
                </c:pt>
                <c:pt idx="169">
                  <c:v>1122</c:v>
                </c:pt>
                <c:pt idx="170">
                  <c:v>1018</c:v>
                </c:pt>
                <c:pt idx="171">
                  <c:v>1031</c:v>
                </c:pt>
                <c:pt idx="172">
                  <c:v>1102</c:v>
                </c:pt>
                <c:pt idx="173">
                  <c:v>1151</c:v>
                </c:pt>
                <c:pt idx="174">
                  <c:v>1022</c:v>
                </c:pt>
                <c:pt idx="175">
                  <c:v>975</c:v>
                </c:pt>
                <c:pt idx="176">
                  <c:v>916</c:v>
                </c:pt>
                <c:pt idx="177">
                  <c:v>823</c:v>
                </c:pt>
                <c:pt idx="178">
                  <c:v>887</c:v>
                </c:pt>
                <c:pt idx="179">
                  <c:v>959</c:v>
                </c:pt>
                <c:pt idx="180">
                  <c:v>1035</c:v>
                </c:pt>
                <c:pt idx="181">
                  <c:v>933</c:v>
                </c:pt>
                <c:pt idx="182">
                  <c:v>9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2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notesSlide" Target="../notesSlides/notesSlide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notesSlide" Target="../notesSlides/notesSlide23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notesSlide" Target="../notesSlides/notesSlide24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chart" Target="../charts/char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5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chart" Target="../charts/char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8794661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906743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4090106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9811707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5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11. 3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1. 3. 2022</a:t>
            </a:r>
          </a:p>
        </p:txBody>
      </p:sp>
    </p:spTree>
    <p:extLst>
      <p:ext uri="{BB962C8B-B14F-4D97-AF65-F5344CB8AC3E}">
        <p14:creationId xmlns:p14="http://schemas.microsoft.com/office/powerpoint/2010/main" val="1645142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1. 3. 2022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1. 3. 2022</a:t>
            </a:r>
          </a:p>
        </p:txBody>
      </p:sp>
    </p:spTree>
    <p:extLst>
      <p:ext uri="{BB962C8B-B14F-4D97-AF65-F5344CB8AC3E}">
        <p14:creationId xmlns:p14="http://schemas.microsoft.com/office/powerpoint/2010/main" val="1815420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1. 3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5140873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5DDF421-5C27-4BF3-BEBF-B83961865B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873338"/>
              </p:ext>
            </p:extLst>
          </p:nvPr>
        </p:nvGraphicFramePr>
        <p:xfrm>
          <a:off x="1943095" y="1600986"/>
          <a:ext cx="9946013" cy="45457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15782791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47359944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987551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08493879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0618454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12967948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15940426"/>
                    </a:ext>
                  </a:extLst>
                </a:gridCol>
              </a:tblGrid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039039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46382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639062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37905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06560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526694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147979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4604703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563198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15185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870794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422443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1911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3012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24037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1. 3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5521133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6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2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9 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0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 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1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61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3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8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21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32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4A2C78B-7E52-4AA6-B37A-62B6C2E5E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139587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0061823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50507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265998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64176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11829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212980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84350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174860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019949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2080205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330026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920758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6317966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529022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01701498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2461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55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08377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4220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31021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2909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2962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3803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8342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14616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76659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48851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80116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1. 3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2141739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6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6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A0E17-AC87-4A06-8BFF-D4626ED2DB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208206"/>
              </p:ext>
            </p:extLst>
          </p:nvPr>
        </p:nvGraphicFramePr>
        <p:xfrm>
          <a:off x="2419349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69778846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998593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176580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247814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67275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286369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5494788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499073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8017931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12030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897533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295897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17965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68737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5662098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3563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64600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0356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8013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31478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0937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4308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1895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7008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3599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0615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9597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47352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1. 3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3363707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5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2482748-7777-4FEF-A872-F35246E60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529732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7172454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385517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149719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654138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082239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207911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0333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45640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435645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202364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744524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445600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496860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856891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02258274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4296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85959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3330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86566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34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81962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393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0014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3756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06810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3131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43025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37590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1. 3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685587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0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1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2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4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5 (3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5 (1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4 (8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2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8128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91070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8128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3751224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1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63612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630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ED930879-98EA-4B39-8F8E-490CB5F74A5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975846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EB72DF98-20EB-467B-BFB2-D904C24BC7D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444097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490508A9-9353-498C-AAE4-FABD0549B5FE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156034" y="3422165"/>
            <a:ext cx="864268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3EBB3CE6-35AE-45AA-9D0F-AE51FED3E1CE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277800" y="3422165"/>
            <a:ext cx="999800" cy="13689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41942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245077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Chart 4">
            <a:extLst>
              <a:ext uri="{FF2B5EF4-FFF2-40B4-BE49-F238E27FC236}">
                <a16:creationId xmlns:a16="http://schemas.microsoft.com/office/drawing/2014/main" id="{2BCA6176-F3DC-4ABC-99CF-4297C3883C1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485979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A32E60EF-82AA-4276-BC6C-8CAE30BA442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975846" y="48968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19CB5E51-EA6B-4476-8F74-D91341C6A66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444097" y="48957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219F2249-4847-4EAD-8FA9-71A388560A1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117934" y="3393590"/>
            <a:ext cx="864268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16B232D6-5FC7-4EE8-A5FC-93066A3EC342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239700" y="3393590"/>
            <a:ext cx="999800" cy="13689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693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535444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9348EC79-2154-4A69-AB34-3E6B79C7F3C6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013046" y="4771996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B093D5F0-17F7-4825-996E-5072BD183B8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481297" y="4770892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A2B77076-F993-46BB-BD9F-361CAF31F82A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303748" y="3012053"/>
            <a:ext cx="711146" cy="18768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7B10D7DE-D221-4CCC-9A31-3491A33AF1A8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272392" y="3012053"/>
            <a:ext cx="1060181" cy="15318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8958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23757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8 % (jen ZP skutečně aktivní ve zdravotnictví). Roste i proočkovanost posilující dávkou. Z pracovníků, kteří na ni mají (časově) nárok, ji dosud absolvovalo 88,6 % lékařů, 79,3 % sester a 75,4 % ostatních NLZP (celkem 80,0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1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2FA5186E-97F5-4CBB-BA21-A6F407C94CB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013046" y="4771996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3F305154-E2A7-45A4-BE58-2A9E48B9612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481297" y="4770892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D208208C-8A21-43AE-B98D-D8B0B9533DF9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303748" y="3012053"/>
            <a:ext cx="711146" cy="18768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9D6A60A7-4E36-4C93-963E-232C7422D707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272392" y="3012053"/>
            <a:ext cx="1060181" cy="15318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000809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183AEAC-58B3-420C-B30E-975915EE1B2D}"/>
              </a:ext>
            </a:extLst>
          </p:cNvPr>
          <p:cNvGraphicFramePr>
            <a:graphicFrameLocks noGrp="1"/>
          </p:cNvGraphicFramePr>
          <p:nvPr/>
        </p:nvGraphicFramePr>
        <p:xfrm>
          <a:off x="2342434" y="2260657"/>
          <a:ext cx="9276168" cy="3621360"/>
        </p:xfrm>
        <a:graphic>
          <a:graphicData uri="http://schemas.openxmlformats.org/drawingml/2006/table">
            <a:tbl>
              <a:tblPr/>
              <a:tblGrid>
                <a:gridCol w="773014">
                  <a:extLst>
                    <a:ext uri="{9D8B030D-6E8A-4147-A177-3AD203B41FA5}">
                      <a16:colId xmlns:a16="http://schemas.microsoft.com/office/drawing/2014/main" val="820322353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946355571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1044470434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033661719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4173880775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44513616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56720535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978309263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400252276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444928460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1978895469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304671590"/>
                    </a:ext>
                  </a:extLst>
                </a:gridCol>
              </a:tblGrid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536589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9883981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848885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C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817098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863714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5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772676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B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7091525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28786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013354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9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8963941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813141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067280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4191682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5559477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646313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1. 3. 2022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25523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140CEAA-2EC9-4E99-ACD7-E1B9CF35D531}"/>
              </a:ext>
            </a:extLst>
          </p:cNvPr>
          <p:cNvGraphicFramePr>
            <a:graphicFrameLocks noGrp="1"/>
          </p:cNvGraphicFramePr>
          <p:nvPr/>
        </p:nvGraphicFramePr>
        <p:xfrm>
          <a:off x="3787234" y="1996276"/>
          <a:ext cx="7347932" cy="3996645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2734403981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2514368018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1133130956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179416908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630181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682537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68994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003682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5388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6856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40365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44189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07050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038938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107906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08732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23757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410111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6318808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48 / 10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(110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1 / -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 (219 / 17 / 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6 / 8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2 / 8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9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67 / 16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2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9 / 6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6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57 / 7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1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3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6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84 / 3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6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1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5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25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53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5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1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41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6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3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0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59 / 6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-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-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 / 3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7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4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45 / 6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22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79 / 13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48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 (149 / 17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3 / 5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1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(59 / 6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7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4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(32 / 6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1 / 6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47 / 10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26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94 / 16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 (186 / 50 / 3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3 (483 / 61 / 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 (303 / - / 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7 (972 / 111 / 7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5. 3. – 11. 3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48621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0826FC4-1CCF-4D5E-8331-AE56B759549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854205" y="1107964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</p:spTree>
    <p:extLst>
      <p:ext uri="{BB962C8B-B14F-4D97-AF65-F5344CB8AC3E}">
        <p14:creationId xmlns:p14="http://schemas.microsoft.com/office/powerpoint/2010/main" val="15992157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439712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49BE471-0E2C-462B-8FF7-F5902000E2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2533" y="5503310"/>
            <a:ext cx="117652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316CE1F9-FF0D-46C3-8234-4B87BF66C88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74256" y="377523"/>
          <a:ext cx="11145281" cy="5165892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5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7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4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9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6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53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6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9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9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5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7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9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4.9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90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0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0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2.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5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2.3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928031"/>
                  </a:ext>
                </a:extLst>
              </a:tr>
            </a:tbl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88D59402-44A7-484E-A9FC-6E0E986A6C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450588" y="43286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1. 3. 2022</a:t>
            </a:r>
          </a:p>
        </p:txBody>
      </p:sp>
    </p:spTree>
    <p:extLst>
      <p:ext uri="{BB962C8B-B14F-4D97-AF65-F5344CB8AC3E}">
        <p14:creationId xmlns:p14="http://schemas.microsoft.com/office/powerpoint/2010/main" val="8834240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1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40622965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07465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231984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2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5 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1. 3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1. 3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0969038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4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6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2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11. 3. 2022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0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7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 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6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7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1. 3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/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7 (8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228 (75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80 (12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2 (3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4 (8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400 (84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724 (6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077 (2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9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27 (9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69 (6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28 (8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179 (56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433 (24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6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61 (1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98 (8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9 (7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13 (56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2 (23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6 (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8 (10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 (8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5 (54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6 (25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4 (11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2 (7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88 (8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43 (5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3 (24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8 (1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0 (7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2 (8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0 (6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7 (1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 (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(5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7 (7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7 (5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6 (24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7 (1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3 (10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47 (82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62 (57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0 (24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0 (1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5 (7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98 (8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03 (5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95 (24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4 (9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5 (8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615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6 131 (62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2 190 (2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294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 430 (8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 031 (7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0132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1. 3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61924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46</TotalTime>
  <Words>9527</Words>
  <Application>Microsoft Office PowerPoint</Application>
  <PresentationFormat>Širokoúhlá obrazovka</PresentationFormat>
  <Paragraphs>2118</Paragraphs>
  <Slides>38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38</vt:i4>
      </vt:variant>
    </vt:vector>
  </HeadingPairs>
  <TitlesOfParts>
    <vt:vector size="44" baseType="lpstr">
      <vt:lpstr>Calibri Light</vt:lpstr>
      <vt:lpstr>Arial</vt:lpstr>
      <vt:lpstr>Calibri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3/2022</vt:lpstr>
      <vt:lpstr>Přehled povolání u COVID-19 pozitivních ostatních zdravotnických pracovníků za období 10/2021 – 03/2022</vt:lpstr>
      <vt:lpstr>Přehled povolání u COVID-19 pozitivních ostatních zdravotnických pracovníků za období 01-03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72</cp:revision>
  <dcterms:created xsi:type="dcterms:W3CDTF">2020-11-11T17:36:28Z</dcterms:created>
  <dcterms:modified xsi:type="dcterms:W3CDTF">2022-03-13T17:58:55Z</dcterms:modified>
</cp:coreProperties>
</file>